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58" r:id="rId5"/>
  </p:sldIdLst>
  <p:sldSz cx="43891200" cy="21945600"/>
  <p:notesSz cx="39600188" cy="39600188"/>
  <p:custDataLst>
    <p:tags r:id="rId8"/>
  </p:custDataLst>
  <p:defaultTextStyle>
    <a:defPPr>
      <a:defRPr lang="en-AU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1pPr>
    <a:lvl2pPr marL="30477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2pPr>
    <a:lvl3pPr marL="609539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3pPr>
    <a:lvl4pPr marL="914309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4pPr>
    <a:lvl5pPr marL="1219078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5pPr>
    <a:lvl6pPr marL="1523848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6pPr>
    <a:lvl7pPr marL="1828617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7pPr>
    <a:lvl8pPr marL="2133387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8pPr>
    <a:lvl9pPr marL="2438156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609" userDrawn="1">
          <p15:clr>
            <a:srgbClr val="A4A3A4"/>
          </p15:clr>
        </p15:guide>
        <p15:guide id="2" orient="horz" pos="1294" userDrawn="1">
          <p15:clr>
            <a:srgbClr val="A4A3A4"/>
          </p15:clr>
        </p15:guide>
        <p15:guide id="3" orient="horz" pos="3241" userDrawn="1">
          <p15:clr>
            <a:srgbClr val="A4A3A4"/>
          </p15:clr>
        </p15:guide>
        <p15:guide id="4" orient="horz" pos="10560" userDrawn="1">
          <p15:clr>
            <a:srgbClr val="A4A3A4"/>
          </p15:clr>
        </p15:guide>
        <p15:guide id="5" orient="horz" pos="2555" userDrawn="1">
          <p15:clr>
            <a:srgbClr val="A4A3A4"/>
          </p15:clr>
        </p15:guide>
        <p15:guide id="6" orient="horz" pos="13472" userDrawn="1">
          <p15:clr>
            <a:srgbClr val="A4A3A4"/>
          </p15:clr>
        </p15:guide>
        <p15:guide id="7" pos="27219" userDrawn="1">
          <p15:clr>
            <a:srgbClr val="A4A3A4"/>
          </p15:clr>
        </p15:guide>
        <p15:guide id="8" pos="18661" userDrawn="1">
          <p15:clr>
            <a:srgbClr val="A4A3A4"/>
          </p15:clr>
        </p15:guide>
        <p15:guide id="9" pos="393" userDrawn="1">
          <p15:clr>
            <a:srgbClr val="A4A3A4"/>
          </p15:clr>
        </p15:guide>
        <p15:guide id="10" pos="8951" userDrawn="1">
          <p15:clr>
            <a:srgbClr val="A4A3A4"/>
          </p15:clr>
        </p15:guide>
        <p15:guide id="11" pos="9555" userDrawn="1">
          <p15:clr>
            <a:srgbClr val="A4A3A4"/>
          </p15:clr>
        </p15:guide>
        <p15:guide id="12" pos="18112" userDrawn="1">
          <p15:clr>
            <a:srgbClr val="A4A3A4"/>
          </p15:clr>
        </p15:guide>
        <p15:guide id="13" pos="9829" userDrawn="1">
          <p15:clr>
            <a:srgbClr val="A4A3A4"/>
          </p15:clr>
        </p15:guide>
        <p15:guide id="14" pos="1783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chin Ulhas Arakeri" initials="SUA" lastIdx="1" clrIdx="0">
    <p:extLst>
      <p:ext uri="{19B8F6BF-5375-455C-9EA6-DF929625EA0E}">
        <p15:presenceInfo xmlns:p15="http://schemas.microsoft.com/office/powerpoint/2012/main" userId="Sachin Ulhas Araker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B991"/>
    <a:srgbClr val="B1810B"/>
    <a:srgbClr val="DDC69A"/>
    <a:srgbClr val="035FA0"/>
    <a:srgbClr val="D23A43"/>
    <a:srgbClr val="10253F"/>
    <a:srgbClr val="DEC699"/>
    <a:srgbClr val="1F497D"/>
    <a:srgbClr val="131873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01"/>
    <p:restoredTop sz="96638" autoAdjust="0"/>
  </p:normalViewPr>
  <p:slideViewPr>
    <p:cSldViewPr snapToGrid="0">
      <p:cViewPr varScale="1">
        <p:scale>
          <a:sx n="36" d="100"/>
          <a:sy n="36" d="100"/>
        </p:scale>
        <p:origin x="376" y="696"/>
      </p:cViewPr>
      <p:guideLst>
        <p:guide orient="horz" pos="13609"/>
        <p:guide orient="horz" pos="1294"/>
        <p:guide orient="horz" pos="3241"/>
        <p:guide orient="horz" pos="10560"/>
        <p:guide orient="horz" pos="2555"/>
        <p:guide orient="horz" pos="13472"/>
        <p:guide pos="27219"/>
        <p:guide pos="18661"/>
        <p:guide pos="393"/>
        <p:guide pos="8951"/>
        <p:guide pos="9555"/>
        <p:guide pos="18112"/>
        <p:guide pos="9829"/>
        <p:guide pos="1783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5769625451314317E-2"/>
          <c:y val="8.0550297159469431E-2"/>
          <c:w val="0.94846074909737133"/>
          <c:h val="0.8878049432421676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5</c:f>
              <c:strCache>
                <c:ptCount val="1"/>
                <c:pt idx="0">
                  <c:v>Not OOS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strRef>
              <c:f>Sheet1!$D$6:$D$9</c:f>
              <c:strCache>
                <c:ptCount val="4"/>
                <c:pt idx="0">
                  <c:v>Overall</c:v>
                </c:pt>
                <c:pt idx="1">
                  <c:v>Seafood</c:v>
                </c:pt>
                <c:pt idx="2">
                  <c:v>Bakery</c:v>
                </c:pt>
                <c:pt idx="3">
                  <c:v>Dairy</c:v>
                </c:pt>
              </c:strCache>
            </c:strRef>
          </c:cat>
          <c:val>
            <c:numRef>
              <c:f>Sheet1!$E$6:$E$9</c:f>
              <c:numCache>
                <c:formatCode>General</c:formatCode>
                <c:ptCount val="4"/>
                <c:pt idx="0">
                  <c:v>95</c:v>
                </c:pt>
                <c:pt idx="1">
                  <c:v>79</c:v>
                </c:pt>
                <c:pt idx="2">
                  <c:v>93</c:v>
                </c:pt>
                <c:pt idx="3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1B-9C4D-A1E3-17CA655ECBC8}"/>
            </c:ext>
          </c:extLst>
        </c:ser>
        <c:ser>
          <c:idx val="1"/>
          <c:order val="1"/>
          <c:tx>
            <c:strRef>
              <c:f>Sheet1!$F$5</c:f>
              <c:strCache>
                <c:ptCount val="1"/>
                <c:pt idx="0">
                  <c:v>OOS</c:v>
                </c:pt>
              </c:strCache>
            </c:strRef>
          </c:tx>
          <c:spPr>
            <a:solidFill>
              <a:srgbClr val="B1810B"/>
            </a:solidFill>
            <a:ln>
              <a:noFill/>
            </a:ln>
            <a:effectLst/>
          </c:spPr>
          <c:invertIfNegative val="0"/>
          <c:cat>
            <c:strRef>
              <c:f>Sheet1!$D$6:$D$9</c:f>
              <c:strCache>
                <c:ptCount val="4"/>
                <c:pt idx="0">
                  <c:v>Overall</c:v>
                </c:pt>
                <c:pt idx="1">
                  <c:v>Seafood</c:v>
                </c:pt>
                <c:pt idx="2">
                  <c:v>Bakery</c:v>
                </c:pt>
                <c:pt idx="3">
                  <c:v>Dairy</c:v>
                </c:pt>
              </c:strCache>
            </c:strRef>
          </c:cat>
          <c:val>
            <c:numRef>
              <c:f>Sheet1!$F$6:$F$9</c:f>
              <c:numCache>
                <c:formatCode>General</c:formatCode>
                <c:ptCount val="4"/>
                <c:pt idx="0">
                  <c:v>5</c:v>
                </c:pt>
                <c:pt idx="1">
                  <c:v>21</c:v>
                </c:pt>
                <c:pt idx="2">
                  <c:v>7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1B-9C4D-A1E3-17CA655EC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6"/>
        <c:overlap val="100"/>
        <c:axId val="725926176"/>
        <c:axId val="729055408"/>
      </c:barChart>
      <c:catAx>
        <c:axId val="72592617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29055408"/>
        <c:crosses val="autoZero"/>
        <c:auto val="1"/>
        <c:lblAlgn val="ctr"/>
        <c:lblOffset val="100"/>
        <c:noMultiLvlLbl val="0"/>
      </c:catAx>
      <c:valAx>
        <c:axId val="7290554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25926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423556658330265E-2"/>
          <c:y val="4.0683836642690194E-2"/>
          <c:w val="0.97715289982425302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E79-4242-B2C3-7F47CD5DC7C6}"/>
              </c:ext>
            </c:extLst>
          </c:dPt>
          <c:dPt>
            <c:idx val="6"/>
            <c:invertIfNegative val="0"/>
            <c:bubble3D val="0"/>
            <c:spPr>
              <a:solidFill>
                <a:srgbClr val="CFB99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E79-4242-B2C3-7F47CD5DC7C6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7878370.4703305205</c:v>
                </c:pt>
                <c:pt idx="1">
                  <c:v>7878370.4703305205</c:v>
                </c:pt>
                <c:pt idx="2">
                  <c:v>28840694.88677163</c:v>
                </c:pt>
                <c:pt idx="3">
                  <c:v>40320079.27253291</c:v>
                </c:pt>
                <c:pt idx="4">
                  <c:v>42440667.669644125</c:v>
                </c:pt>
                <c:pt idx="5">
                  <c:v>44765953.470087722</c:v>
                </c:pt>
                <c:pt idx="6">
                  <c:v>50626477.4700877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E79-4242-B2C3-7F47CD5DC7C6}"/>
            </c:ext>
          </c:extLst>
        </c:ser>
        <c:ser>
          <c:idx val="1"/>
          <c:order val="1"/>
          <c:spPr>
            <a:solidFill>
              <a:schemeClr val="tx1"/>
            </a:solidFill>
            <a:ln>
              <a:noFill/>
            </a:ln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4E79-4242-B2C3-7F47CD5DC7C6}"/>
              </c:ext>
            </c:extLst>
          </c:dPt>
          <c:val>
            <c:numRef>
              <c:f>Sheet1!$A$2:$G$2</c:f>
              <c:numCache>
                <c:formatCode>General</c:formatCode>
                <c:ptCount val="7"/>
                <c:pt idx="1">
                  <c:v>20962324.416441109</c:v>
                </c:pt>
                <c:pt idx="2">
                  <c:v>11479384.38576128</c:v>
                </c:pt>
                <c:pt idx="3">
                  <c:v>2120588.3971112147</c:v>
                </c:pt>
                <c:pt idx="4">
                  <c:v>2325285.8004435971</c:v>
                </c:pt>
                <c:pt idx="5">
                  <c:v>58605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E79-4242-B2C3-7F47CD5DC7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20952120"/>
        <c:axId val="1"/>
      </c:barChart>
      <c:catAx>
        <c:axId val="8209521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626477.47008772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209521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7567336-4EDE-4D00-85BA-78B033B09C7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29C332-A106-431A-8CF9-4C7E966767B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22431375" y="0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989CD4-C2C3-40A0-9FF9-B395EEEFAF44}" type="datetimeFigureOut">
              <a:rPr lang="en-US" smtClean="0"/>
              <a:t>3/1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834825-B1F4-466C-B112-198737BB257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37615813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87FB0F-963F-4CF1-89EC-6C1F8FB613E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22431375" y="37615813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094531-855D-4471-89B7-0A3C8863AA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1621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22431375" y="0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E82495-20E6-4DC4-B68F-C6FBB8E26F6D}" type="datetimeFigureOut">
              <a:rPr lang="en-US" smtClean="0"/>
              <a:t>3/18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435725" y="4949825"/>
            <a:ext cx="26730325" cy="13365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0813" y="19057938"/>
            <a:ext cx="31680150" cy="15592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37615813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2431375" y="37615813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A6B59D-2217-4338-9D1B-7E5E82C89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4139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92477" y="6817182"/>
            <a:ext cx="37306251" cy="47044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583365" y="12436025"/>
            <a:ext cx="30724475" cy="5607957"/>
          </a:xfrm>
        </p:spPr>
        <p:txBody>
          <a:bodyPr/>
          <a:lstStyle>
            <a:lvl1pPr marL="0" indent="0" algn="ctr">
              <a:buNone/>
              <a:defRPr/>
            </a:lvl1pPr>
            <a:lvl2pPr marL="261238" indent="0" algn="ctr">
              <a:buNone/>
              <a:defRPr/>
            </a:lvl2pPr>
            <a:lvl3pPr marL="522475" indent="0" algn="ctr">
              <a:buNone/>
              <a:defRPr/>
            </a:lvl3pPr>
            <a:lvl4pPr marL="783713" indent="0" algn="ctr">
              <a:buNone/>
              <a:defRPr/>
            </a:lvl4pPr>
            <a:lvl5pPr marL="1044950" indent="0" algn="ctr">
              <a:buNone/>
              <a:defRPr/>
            </a:lvl5pPr>
            <a:lvl6pPr marL="1306187" indent="0" algn="ctr">
              <a:buNone/>
              <a:defRPr/>
            </a:lvl6pPr>
            <a:lvl7pPr marL="1567425" indent="0" algn="ctr">
              <a:buNone/>
              <a:defRPr/>
            </a:lvl7pPr>
            <a:lvl8pPr marL="1828664" indent="0" algn="ctr">
              <a:buNone/>
              <a:defRPr/>
            </a:lvl8pPr>
            <a:lvl9pPr marL="2089901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E7914F9-150E-43ED-BA4B-5CBC7DBD3A27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3397727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A678339-05F4-4347-9E9C-6AEF31B1B524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5211670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1272165" y="1950361"/>
            <a:ext cx="9326563" cy="1755684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292476" y="1950361"/>
            <a:ext cx="27827288" cy="1755684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5BFA30-CF48-4A8D-A4B4-5705D222FB1F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1443180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6114BF-9C08-4236-B599-3CC67DCBCE64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2879615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7102" y="14102444"/>
            <a:ext cx="37307839" cy="4357914"/>
          </a:xfrm>
        </p:spPr>
        <p:txBody>
          <a:bodyPr anchor="t"/>
          <a:lstStyle>
            <a:lvl1pPr algn="l">
              <a:defRPr sz="2286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67102" y="9301843"/>
            <a:ext cx="37307839" cy="4800600"/>
          </a:xfrm>
        </p:spPr>
        <p:txBody>
          <a:bodyPr anchor="b"/>
          <a:lstStyle>
            <a:lvl1pPr marL="0" indent="0">
              <a:buNone/>
              <a:defRPr sz="1143"/>
            </a:lvl1pPr>
            <a:lvl2pPr marL="261238" indent="0">
              <a:buNone/>
              <a:defRPr sz="1029"/>
            </a:lvl2pPr>
            <a:lvl3pPr marL="522475" indent="0">
              <a:buNone/>
              <a:defRPr sz="914"/>
            </a:lvl3pPr>
            <a:lvl4pPr marL="783713" indent="0">
              <a:buNone/>
              <a:defRPr sz="800"/>
            </a:lvl4pPr>
            <a:lvl5pPr marL="1044950" indent="0">
              <a:buNone/>
              <a:defRPr sz="800"/>
            </a:lvl5pPr>
            <a:lvl6pPr marL="1306187" indent="0">
              <a:buNone/>
              <a:defRPr sz="800"/>
            </a:lvl6pPr>
            <a:lvl7pPr marL="1567425" indent="0">
              <a:buNone/>
              <a:defRPr sz="800"/>
            </a:lvl7pPr>
            <a:lvl8pPr marL="1828664" indent="0">
              <a:buNone/>
              <a:defRPr sz="800"/>
            </a:lvl8pPr>
            <a:lvl9pPr marL="2089901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4C87C54-71D5-4F3D-9638-FB01B112514A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2372803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92476" y="6339115"/>
            <a:ext cx="18576925" cy="13168086"/>
          </a:xfrm>
        </p:spPr>
        <p:txBody>
          <a:bodyPr/>
          <a:lstStyle>
            <a:lvl1pPr>
              <a:defRPr sz="1600"/>
            </a:lvl1pPr>
            <a:lvl2pPr>
              <a:defRPr sz="1371"/>
            </a:lvl2pPr>
            <a:lvl3pPr>
              <a:defRPr sz="1143"/>
            </a:lvl3pPr>
            <a:lvl4pPr>
              <a:defRPr sz="1029"/>
            </a:lvl4pPr>
            <a:lvl5pPr>
              <a:defRPr sz="1029"/>
            </a:lvl5pPr>
            <a:lvl6pPr>
              <a:defRPr sz="1029"/>
            </a:lvl6pPr>
            <a:lvl7pPr>
              <a:defRPr sz="1029"/>
            </a:lvl7pPr>
            <a:lvl8pPr>
              <a:defRPr sz="1029"/>
            </a:lvl8pPr>
            <a:lvl9pPr>
              <a:defRPr sz="10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021804" y="6339115"/>
            <a:ext cx="18576925" cy="13168086"/>
          </a:xfrm>
        </p:spPr>
        <p:txBody>
          <a:bodyPr/>
          <a:lstStyle>
            <a:lvl1pPr>
              <a:defRPr sz="1600"/>
            </a:lvl1pPr>
            <a:lvl2pPr>
              <a:defRPr sz="1371"/>
            </a:lvl2pPr>
            <a:lvl3pPr>
              <a:defRPr sz="1143"/>
            </a:lvl3pPr>
            <a:lvl4pPr>
              <a:defRPr sz="1029"/>
            </a:lvl4pPr>
            <a:lvl5pPr>
              <a:defRPr sz="1029"/>
            </a:lvl5pPr>
            <a:lvl6pPr>
              <a:defRPr sz="1029"/>
            </a:lvl6pPr>
            <a:lvl7pPr>
              <a:defRPr sz="1029"/>
            </a:lvl7pPr>
            <a:lvl8pPr>
              <a:defRPr sz="1029"/>
            </a:lvl8pPr>
            <a:lvl9pPr>
              <a:defRPr sz="10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EC6769-9FD1-495B-AF37-D39FB4533727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9192014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3927" y="879022"/>
            <a:ext cx="39503351" cy="36576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93924" y="4912182"/>
            <a:ext cx="19392901" cy="2047421"/>
          </a:xfrm>
        </p:spPr>
        <p:txBody>
          <a:bodyPr anchor="b"/>
          <a:lstStyle>
            <a:lvl1pPr marL="0" indent="0">
              <a:buNone/>
              <a:defRPr sz="1371" b="1"/>
            </a:lvl1pPr>
            <a:lvl2pPr marL="261238" indent="0">
              <a:buNone/>
              <a:defRPr sz="1143" b="1"/>
            </a:lvl2pPr>
            <a:lvl3pPr marL="522475" indent="0">
              <a:buNone/>
              <a:defRPr sz="1029" b="1"/>
            </a:lvl3pPr>
            <a:lvl4pPr marL="783713" indent="0">
              <a:buNone/>
              <a:defRPr sz="914" b="1"/>
            </a:lvl4pPr>
            <a:lvl5pPr marL="1044950" indent="0">
              <a:buNone/>
              <a:defRPr sz="914" b="1"/>
            </a:lvl5pPr>
            <a:lvl6pPr marL="1306187" indent="0">
              <a:buNone/>
              <a:defRPr sz="914" b="1"/>
            </a:lvl6pPr>
            <a:lvl7pPr marL="1567425" indent="0">
              <a:buNone/>
              <a:defRPr sz="914" b="1"/>
            </a:lvl7pPr>
            <a:lvl8pPr marL="1828664" indent="0">
              <a:buNone/>
              <a:defRPr sz="914" b="1"/>
            </a:lvl8pPr>
            <a:lvl9pPr marL="2089901" indent="0">
              <a:buNone/>
              <a:defRPr sz="91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93924" y="6959603"/>
            <a:ext cx="19392901" cy="12643757"/>
          </a:xfrm>
        </p:spPr>
        <p:txBody>
          <a:bodyPr/>
          <a:lstStyle>
            <a:lvl1pPr>
              <a:defRPr sz="1371"/>
            </a:lvl1pPr>
            <a:lvl2pPr>
              <a:defRPr sz="1143"/>
            </a:lvl2pPr>
            <a:lvl3pPr>
              <a:defRPr sz="1029"/>
            </a:lvl3pPr>
            <a:lvl4pPr>
              <a:defRPr sz="914"/>
            </a:lvl4pPr>
            <a:lvl5pPr>
              <a:defRPr sz="914"/>
            </a:lvl5pPr>
            <a:lvl6pPr>
              <a:defRPr sz="914"/>
            </a:lvl6pPr>
            <a:lvl7pPr>
              <a:defRPr sz="914"/>
            </a:lvl7pPr>
            <a:lvl8pPr>
              <a:defRPr sz="914"/>
            </a:lvl8pPr>
            <a:lvl9pPr>
              <a:defRPr sz="91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2296440" y="4912182"/>
            <a:ext cx="19400837" cy="2047421"/>
          </a:xfrm>
        </p:spPr>
        <p:txBody>
          <a:bodyPr anchor="b"/>
          <a:lstStyle>
            <a:lvl1pPr marL="0" indent="0">
              <a:buNone/>
              <a:defRPr sz="1371" b="1"/>
            </a:lvl1pPr>
            <a:lvl2pPr marL="261238" indent="0">
              <a:buNone/>
              <a:defRPr sz="1143" b="1"/>
            </a:lvl2pPr>
            <a:lvl3pPr marL="522475" indent="0">
              <a:buNone/>
              <a:defRPr sz="1029" b="1"/>
            </a:lvl3pPr>
            <a:lvl4pPr marL="783713" indent="0">
              <a:buNone/>
              <a:defRPr sz="914" b="1"/>
            </a:lvl4pPr>
            <a:lvl5pPr marL="1044950" indent="0">
              <a:buNone/>
              <a:defRPr sz="914" b="1"/>
            </a:lvl5pPr>
            <a:lvl6pPr marL="1306187" indent="0">
              <a:buNone/>
              <a:defRPr sz="914" b="1"/>
            </a:lvl6pPr>
            <a:lvl7pPr marL="1567425" indent="0">
              <a:buNone/>
              <a:defRPr sz="914" b="1"/>
            </a:lvl7pPr>
            <a:lvl8pPr marL="1828664" indent="0">
              <a:buNone/>
              <a:defRPr sz="914" b="1"/>
            </a:lvl8pPr>
            <a:lvl9pPr marL="2089901" indent="0">
              <a:buNone/>
              <a:defRPr sz="91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2296440" y="6959603"/>
            <a:ext cx="19400837" cy="12643757"/>
          </a:xfrm>
        </p:spPr>
        <p:txBody>
          <a:bodyPr/>
          <a:lstStyle>
            <a:lvl1pPr>
              <a:defRPr sz="1371"/>
            </a:lvl1pPr>
            <a:lvl2pPr>
              <a:defRPr sz="1143"/>
            </a:lvl2pPr>
            <a:lvl3pPr>
              <a:defRPr sz="1029"/>
            </a:lvl3pPr>
            <a:lvl4pPr>
              <a:defRPr sz="914"/>
            </a:lvl4pPr>
            <a:lvl5pPr>
              <a:defRPr sz="914"/>
            </a:lvl5pPr>
            <a:lvl6pPr>
              <a:defRPr sz="914"/>
            </a:lvl6pPr>
            <a:lvl7pPr>
              <a:defRPr sz="914"/>
            </a:lvl7pPr>
            <a:lvl8pPr>
              <a:defRPr sz="914"/>
            </a:lvl8pPr>
            <a:lvl9pPr>
              <a:defRPr sz="91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14340B-C24E-4CF1-8F2E-94BDA66FD75D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10124551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D7FF473-A988-4642-B695-D572F60BC774}" type="slidenum">
              <a:rPr lang="en-AU" altLang="en-US"/>
              <a:pPr/>
              <a:t>‹#›</a:t>
            </a:fld>
            <a:endParaRPr lang="en-AU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DFA2F5-AF6C-48B2-AC53-85384609B04A}"/>
              </a:ext>
            </a:extLst>
          </p:cNvPr>
          <p:cNvSpPr/>
          <p:nvPr userDrawn="1"/>
        </p:nvSpPr>
        <p:spPr bwMode="auto">
          <a:xfrm>
            <a:off x="0" y="0"/>
            <a:ext cx="43891200" cy="21945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60262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1171CD6-50C3-42F5-B102-ECB5C1E5D853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467171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3927" y="873580"/>
            <a:ext cx="14439901" cy="3718378"/>
          </a:xfrm>
        </p:spPr>
        <p:txBody>
          <a:bodyPr anchor="b"/>
          <a:lstStyle>
            <a:lvl1pPr algn="l">
              <a:defRPr sz="114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160875" y="873580"/>
            <a:ext cx="24536400" cy="18729778"/>
          </a:xfrm>
        </p:spPr>
        <p:txBody>
          <a:bodyPr/>
          <a:lstStyle>
            <a:lvl1pPr>
              <a:defRPr sz="1828"/>
            </a:lvl1pPr>
            <a:lvl2pPr>
              <a:defRPr sz="1600"/>
            </a:lvl2pPr>
            <a:lvl3pPr>
              <a:defRPr sz="1371"/>
            </a:lvl3pPr>
            <a:lvl4pPr>
              <a:defRPr sz="1143"/>
            </a:lvl4pPr>
            <a:lvl5pPr>
              <a:defRPr sz="1143"/>
            </a:lvl5pPr>
            <a:lvl6pPr>
              <a:defRPr sz="1143"/>
            </a:lvl6pPr>
            <a:lvl7pPr>
              <a:defRPr sz="1143"/>
            </a:lvl7pPr>
            <a:lvl8pPr>
              <a:defRPr sz="1143"/>
            </a:lvl8pPr>
            <a:lvl9pPr>
              <a:defRPr sz="114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93927" y="4591957"/>
            <a:ext cx="14439901" cy="15011400"/>
          </a:xfrm>
        </p:spPr>
        <p:txBody>
          <a:bodyPr/>
          <a:lstStyle>
            <a:lvl1pPr marL="0" indent="0">
              <a:buNone/>
              <a:defRPr sz="800"/>
            </a:lvl1pPr>
            <a:lvl2pPr marL="261238" indent="0">
              <a:buNone/>
              <a:defRPr sz="686"/>
            </a:lvl2pPr>
            <a:lvl3pPr marL="522475" indent="0">
              <a:buNone/>
              <a:defRPr sz="571"/>
            </a:lvl3pPr>
            <a:lvl4pPr marL="783713" indent="0">
              <a:buNone/>
              <a:defRPr sz="514"/>
            </a:lvl4pPr>
            <a:lvl5pPr marL="1044950" indent="0">
              <a:buNone/>
              <a:defRPr sz="514"/>
            </a:lvl5pPr>
            <a:lvl6pPr marL="1306187" indent="0">
              <a:buNone/>
              <a:defRPr sz="514"/>
            </a:lvl6pPr>
            <a:lvl7pPr marL="1567425" indent="0">
              <a:buNone/>
              <a:defRPr sz="514"/>
            </a:lvl7pPr>
            <a:lvl8pPr marL="1828664" indent="0">
              <a:buNone/>
              <a:defRPr sz="514"/>
            </a:lvl8pPr>
            <a:lvl9pPr marL="2089901" indent="0">
              <a:buNone/>
              <a:defRPr sz="51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F27BF72-D86B-4CC1-A0A4-AB6BFFE07AFD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6677595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02664" y="15361558"/>
            <a:ext cx="26335037" cy="1814286"/>
          </a:xfrm>
        </p:spPr>
        <p:txBody>
          <a:bodyPr anchor="b"/>
          <a:lstStyle>
            <a:lvl1pPr algn="l">
              <a:defRPr sz="114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602664" y="1961246"/>
            <a:ext cx="26335037" cy="13167179"/>
          </a:xfrm>
        </p:spPr>
        <p:txBody>
          <a:bodyPr/>
          <a:lstStyle>
            <a:lvl1pPr marL="0" indent="0">
              <a:buNone/>
              <a:defRPr sz="1828"/>
            </a:lvl1pPr>
            <a:lvl2pPr marL="261238" indent="0">
              <a:buNone/>
              <a:defRPr sz="1600"/>
            </a:lvl2pPr>
            <a:lvl3pPr marL="522475" indent="0">
              <a:buNone/>
              <a:defRPr sz="1371"/>
            </a:lvl3pPr>
            <a:lvl4pPr marL="783713" indent="0">
              <a:buNone/>
              <a:defRPr sz="1143"/>
            </a:lvl4pPr>
            <a:lvl5pPr marL="1044950" indent="0">
              <a:buNone/>
              <a:defRPr sz="1143"/>
            </a:lvl5pPr>
            <a:lvl6pPr marL="1306187" indent="0">
              <a:buNone/>
              <a:defRPr sz="1143"/>
            </a:lvl6pPr>
            <a:lvl7pPr marL="1567425" indent="0">
              <a:buNone/>
              <a:defRPr sz="1143"/>
            </a:lvl7pPr>
            <a:lvl8pPr marL="1828664" indent="0">
              <a:buNone/>
              <a:defRPr sz="1143"/>
            </a:lvl8pPr>
            <a:lvl9pPr marL="2089901" indent="0">
              <a:buNone/>
              <a:defRPr sz="1143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02664" y="17175846"/>
            <a:ext cx="26335037" cy="2575379"/>
          </a:xfrm>
        </p:spPr>
        <p:txBody>
          <a:bodyPr/>
          <a:lstStyle>
            <a:lvl1pPr marL="0" indent="0">
              <a:buNone/>
              <a:defRPr sz="800"/>
            </a:lvl1pPr>
            <a:lvl2pPr marL="261238" indent="0">
              <a:buNone/>
              <a:defRPr sz="686"/>
            </a:lvl2pPr>
            <a:lvl3pPr marL="522475" indent="0">
              <a:buNone/>
              <a:defRPr sz="571"/>
            </a:lvl3pPr>
            <a:lvl4pPr marL="783713" indent="0">
              <a:buNone/>
              <a:defRPr sz="514"/>
            </a:lvl4pPr>
            <a:lvl5pPr marL="1044950" indent="0">
              <a:buNone/>
              <a:defRPr sz="514"/>
            </a:lvl5pPr>
            <a:lvl6pPr marL="1306187" indent="0">
              <a:buNone/>
              <a:defRPr sz="514"/>
            </a:lvl6pPr>
            <a:lvl7pPr marL="1567425" indent="0">
              <a:buNone/>
              <a:defRPr sz="514"/>
            </a:lvl7pPr>
            <a:lvl8pPr marL="1828664" indent="0">
              <a:buNone/>
              <a:defRPr sz="514"/>
            </a:lvl8pPr>
            <a:lvl9pPr marL="2089901" indent="0">
              <a:buNone/>
              <a:defRPr sz="51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3388DA4-D5E8-40AB-8BF2-B8F067ACA6A5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42040071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4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3131672-2629-446D-8683-037301D2F0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65465374"/>
              </p:ext>
            </p:extLst>
          </p:nvPr>
        </p:nvGraphicFramePr>
        <p:xfrm>
          <a:off x="2117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3131672-2629-446D-8683-037301D2F0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7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025DE-683A-4BA3-8837-69516B12386A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1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5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  <a:ea typeface="+mj-ea"/>
              <a:cs typeface="+mj-cs"/>
              <a:sym typeface="Times" panose="02020603050405020304" pitchFamily="18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92477" y="1950360"/>
            <a:ext cx="37306251" cy="36585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AU" altLang="en-US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92477" y="6339115"/>
            <a:ext cx="37306251" cy="13168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AU" altLang="en-US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292475" y="19995243"/>
            <a:ext cx="9144000" cy="1463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>
            <a:lvl1pPr defTabSz="2508062">
              <a:defRPr sz="3828"/>
            </a:lvl1pPr>
          </a:lstStyle>
          <a:p>
            <a:endParaRPr lang="en-AU" alt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997117" y="19995243"/>
            <a:ext cx="13896975" cy="1463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>
            <a:lvl1pPr algn="ctr" defTabSz="2508062">
              <a:defRPr sz="3828"/>
            </a:lvl1pPr>
          </a:lstStyle>
          <a:p>
            <a:endParaRPr lang="en-AU" alt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1454725" y="19995243"/>
            <a:ext cx="9144000" cy="1463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>
            <a:lvl1pPr algn="r" defTabSz="2508062">
              <a:defRPr sz="3828"/>
            </a:lvl1pPr>
          </a:lstStyle>
          <a:p>
            <a:fld id="{777CDA11-CE27-4048-AD59-A3D9E025B8A2}" type="slidenum">
              <a:rPr lang="en-AU" altLang="en-US"/>
              <a:pPr/>
              <a:t>‹#›</a:t>
            </a:fld>
            <a:endParaRPr lang="en-AU" altLang="en-US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43891200" cy="21945600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14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93C017-DFEF-4FF3-B40E-2496F137D9AB}"/>
              </a:ext>
            </a:extLst>
          </p:cNvPr>
          <p:cNvSpPr/>
          <p:nvPr userDrawn="1"/>
        </p:nvSpPr>
        <p:spPr bwMode="auto">
          <a:xfrm>
            <a:off x="-101600" y="0"/>
            <a:ext cx="43992800" cy="21945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+mj-lt"/>
          <a:ea typeface="+mj-ea"/>
          <a:cs typeface="+mj-cs"/>
        </a:defRPr>
      </a:lvl1pPr>
      <a:lvl2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2pPr>
      <a:lvl3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3pPr>
      <a:lvl4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4pPr>
      <a:lvl5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5pPr>
      <a:lvl6pPr marL="261238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6pPr>
      <a:lvl7pPr marL="522475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7pPr>
      <a:lvl8pPr marL="783713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8pPr>
      <a:lvl9pPr marL="1044950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9pPr>
    </p:titleStyle>
    <p:bodyStyle>
      <a:lvl1pPr marL="940637" indent="-940637" algn="l" defTabSz="2508062" rtl="0" eaLnBrk="1" fontAlgn="base" hangingPunct="1">
        <a:spcBef>
          <a:spcPct val="20000"/>
        </a:spcBef>
        <a:spcAft>
          <a:spcPct val="0"/>
        </a:spcAft>
        <a:buChar char="•"/>
        <a:defRPr sz="8742">
          <a:solidFill>
            <a:schemeClr val="tx1"/>
          </a:solidFill>
          <a:latin typeface="+mn-lt"/>
          <a:ea typeface="+mn-ea"/>
          <a:cs typeface="+mn-cs"/>
        </a:defRPr>
      </a:lvl1pPr>
      <a:lvl2pPr marL="2037290" indent="-783713" algn="l" defTabSz="2508062" rtl="0" eaLnBrk="1" fontAlgn="base" hangingPunct="1">
        <a:spcBef>
          <a:spcPct val="20000"/>
        </a:spcBef>
        <a:spcAft>
          <a:spcPct val="0"/>
        </a:spcAft>
        <a:buChar char="–"/>
        <a:defRPr sz="7714">
          <a:solidFill>
            <a:schemeClr val="tx1"/>
          </a:solidFill>
          <a:latin typeface="+mn-lt"/>
        </a:defRPr>
      </a:lvl2pPr>
      <a:lvl3pPr marL="3134851" indent="-626789" algn="l" defTabSz="2508062" rtl="0" eaLnBrk="1" fontAlgn="base" hangingPunct="1">
        <a:spcBef>
          <a:spcPct val="20000"/>
        </a:spcBef>
        <a:spcAft>
          <a:spcPct val="0"/>
        </a:spcAft>
        <a:buChar char="•"/>
        <a:defRPr sz="6571">
          <a:solidFill>
            <a:schemeClr val="tx1"/>
          </a:solidFill>
          <a:latin typeface="+mn-lt"/>
        </a:defRPr>
      </a:lvl3pPr>
      <a:lvl4pPr marL="4388429" indent="-626789" algn="l" defTabSz="2508062" rtl="0" eaLnBrk="1" fontAlgn="base" hangingPunct="1">
        <a:spcBef>
          <a:spcPct val="20000"/>
        </a:spcBef>
        <a:spcAft>
          <a:spcPct val="0"/>
        </a:spcAft>
        <a:buChar char="–"/>
        <a:defRPr sz="5485">
          <a:solidFill>
            <a:schemeClr val="tx1"/>
          </a:solidFill>
          <a:latin typeface="+mn-lt"/>
        </a:defRPr>
      </a:lvl4pPr>
      <a:lvl5pPr marL="5641099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5pPr>
      <a:lvl6pPr marL="5902337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6pPr>
      <a:lvl7pPr marL="6163574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7pPr>
      <a:lvl8pPr marL="6424811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8pPr>
      <a:lvl9pPr marL="6686049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1pPr>
      <a:lvl2pPr marL="261238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2pPr>
      <a:lvl3pPr marL="522475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3pPr>
      <a:lvl4pPr marL="783713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4pPr>
      <a:lvl5pPr marL="1044950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5pPr>
      <a:lvl6pPr marL="1306187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6pPr>
      <a:lvl7pPr marL="1567425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7pPr>
      <a:lvl8pPr marL="1828664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8pPr>
      <a:lvl9pPr marL="2089901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chart" Target="../charts/chart2.xml"/><Relationship Id="rId7" Type="http://schemas.openxmlformats.org/officeDocument/2006/relationships/image" Target="../media/image4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linkedin.com/in/keerthana-nemili/" TargetMode="External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image" Target="../media/image2.jpeg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tangle 141">
            <a:extLst>
              <a:ext uri="{FF2B5EF4-FFF2-40B4-BE49-F238E27FC236}">
                <a16:creationId xmlns:a16="http://schemas.microsoft.com/office/drawing/2014/main" id="{BD862A35-653F-C141-9763-CAD045008739}"/>
              </a:ext>
            </a:extLst>
          </p:cNvPr>
          <p:cNvSpPr>
            <a:spLocks/>
          </p:cNvSpPr>
          <p:nvPr/>
        </p:nvSpPr>
        <p:spPr bwMode="auto">
          <a:xfrm>
            <a:off x="34604323" y="-19463"/>
            <a:ext cx="9613448" cy="220847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18F971F8-7F6A-5442-91A8-002F9F907A78}"/>
              </a:ext>
            </a:extLst>
          </p:cNvPr>
          <p:cNvSpPr/>
          <p:nvPr/>
        </p:nvSpPr>
        <p:spPr bwMode="auto">
          <a:xfrm>
            <a:off x="34578582" y="14415694"/>
            <a:ext cx="5493344" cy="52322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9FF3CA-458A-4D4D-B9C8-94E3801BC8D9}"/>
              </a:ext>
            </a:extLst>
          </p:cNvPr>
          <p:cNvSpPr>
            <a:spLocks/>
          </p:cNvSpPr>
          <p:nvPr/>
        </p:nvSpPr>
        <p:spPr bwMode="auto">
          <a:xfrm>
            <a:off x="-244841" y="-69574"/>
            <a:ext cx="9286875" cy="220847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" name="Text Box 126">
            <a:extLst>
              <a:ext uri="{FF2B5EF4-FFF2-40B4-BE49-F238E27FC236}">
                <a16:creationId xmlns:a16="http://schemas.microsoft.com/office/drawing/2014/main" id="{483B37E3-74D4-9F4E-81FB-4FA09415C5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5603" y="578089"/>
            <a:ext cx="8593588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Title of Your Projec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F0A4B1-CE86-2D45-8907-A777B1C83D4B}"/>
              </a:ext>
            </a:extLst>
          </p:cNvPr>
          <p:cNvSpPr txBox="1"/>
          <p:nvPr/>
        </p:nvSpPr>
        <p:spPr>
          <a:xfrm>
            <a:off x="2884938" y="2268085"/>
            <a:ext cx="5641270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</a:pPr>
            <a:r>
              <a:rPr lang="en-IN" sz="2000" b="1" dirty="0">
                <a:latin typeface="Arial" panose="020B0604020202020204" pitchFamily="34" charset="0"/>
                <a:cs typeface="Arial" panose="020B0604020202020204" pitchFamily="34" charset="0"/>
              </a:rPr>
              <a:t>Your Name</a:t>
            </a:r>
          </a:p>
          <a:p>
            <a:pPr>
              <a:spcBef>
                <a:spcPct val="20000"/>
              </a:spcBef>
            </a:pPr>
            <a:r>
              <a:rPr lang="en-IN" sz="2000" dirty="0">
                <a:latin typeface="Arial" panose="020B0604020202020204" pitchFamily="34" charset="0"/>
                <a:cs typeface="Arial" panose="020B0604020202020204" pitchFamily="34" charset="0"/>
              </a:rPr>
              <a:t>Purdue University, Daniels School of Business</a:t>
            </a:r>
          </a:p>
          <a:p>
            <a:pPr>
              <a:spcBef>
                <a:spcPct val="20000"/>
              </a:spcBef>
            </a:pPr>
            <a:r>
              <a:rPr lang="en-IN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Your_Email@purdue.edu</a:t>
            </a:r>
            <a:endParaRPr lang="en-GB" altLang="en-US" sz="2000" dirty="0">
              <a:latin typeface="Arial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1CD0828-D839-D547-81E9-14F36F4411E3}"/>
              </a:ext>
            </a:extLst>
          </p:cNvPr>
          <p:cNvSpPr/>
          <p:nvPr/>
        </p:nvSpPr>
        <p:spPr bwMode="auto">
          <a:xfrm>
            <a:off x="-268363" y="4181806"/>
            <a:ext cx="7167979" cy="52322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2BDF84D-4096-854B-8F4A-A0214D647341}"/>
              </a:ext>
            </a:extLst>
          </p:cNvPr>
          <p:cNvSpPr/>
          <p:nvPr/>
        </p:nvSpPr>
        <p:spPr>
          <a:xfrm>
            <a:off x="-200350" y="4203071"/>
            <a:ext cx="709996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STRACT</a:t>
            </a: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9F0D0EB2-718D-8247-A935-E4771A3033EC}"/>
              </a:ext>
            </a:extLst>
          </p:cNvPr>
          <p:cNvGrpSpPr/>
          <p:nvPr/>
        </p:nvGrpSpPr>
        <p:grpSpPr>
          <a:xfrm>
            <a:off x="598879" y="15255383"/>
            <a:ext cx="7342444" cy="3673129"/>
            <a:chOff x="559383" y="14935624"/>
            <a:chExt cx="7342444" cy="3673129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20096C3C-4405-B248-9568-6E03C5840F33}"/>
                </a:ext>
              </a:extLst>
            </p:cNvPr>
            <p:cNvSpPr/>
            <p:nvPr/>
          </p:nvSpPr>
          <p:spPr>
            <a:xfrm>
              <a:off x="908833" y="18239421"/>
              <a:ext cx="639422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800" dirty="0"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Fig 1. The Idea of what you are trying to do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3BEDEADB-7624-8240-A573-74EEE0B96810}"/>
                </a:ext>
              </a:extLst>
            </p:cNvPr>
            <p:cNvSpPr txBox="1"/>
            <p:nvPr/>
          </p:nvSpPr>
          <p:spPr>
            <a:xfrm>
              <a:off x="4174841" y="14995370"/>
              <a:ext cx="67584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5%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B2722979-1618-3D41-91A0-0F0CA0F97CDA}"/>
                </a:ext>
              </a:extLst>
            </p:cNvPr>
            <p:cNvSpPr txBox="1"/>
            <p:nvPr/>
          </p:nvSpPr>
          <p:spPr>
            <a:xfrm>
              <a:off x="5045837" y="14986045"/>
              <a:ext cx="91534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21%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8F5DB644-9106-1A4D-8195-7048F7709902}"/>
                </a:ext>
              </a:extLst>
            </p:cNvPr>
            <p:cNvSpPr txBox="1"/>
            <p:nvPr/>
          </p:nvSpPr>
          <p:spPr>
            <a:xfrm>
              <a:off x="5991239" y="14986045"/>
              <a:ext cx="67584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7%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EECD4D00-89D3-F14B-AAA2-DFF43267174D}"/>
                </a:ext>
              </a:extLst>
            </p:cNvPr>
            <p:cNvSpPr txBox="1"/>
            <p:nvPr/>
          </p:nvSpPr>
          <p:spPr>
            <a:xfrm>
              <a:off x="6854148" y="15015891"/>
              <a:ext cx="62987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3%</a:t>
              </a:r>
            </a:p>
          </p:txBody>
        </p: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F94E22F5-DDBB-7448-87CA-FE6E7BA9DF7E}"/>
                </a:ext>
              </a:extLst>
            </p:cNvPr>
            <p:cNvGrpSpPr/>
            <p:nvPr/>
          </p:nvGrpSpPr>
          <p:grpSpPr>
            <a:xfrm>
              <a:off x="559383" y="14935624"/>
              <a:ext cx="7342444" cy="3231494"/>
              <a:chOff x="447998" y="10635065"/>
              <a:chExt cx="10566324" cy="4982291"/>
            </a:xfrm>
          </p:grpSpPr>
          <p:graphicFrame>
            <p:nvGraphicFramePr>
              <p:cNvPr id="84" name="Chart 83">
                <a:extLst>
                  <a:ext uri="{FF2B5EF4-FFF2-40B4-BE49-F238E27FC236}">
                    <a16:creationId xmlns:a16="http://schemas.microsoft.com/office/drawing/2014/main" id="{50447A60-A9FC-234E-B608-DC2A4821EA9C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3148423657"/>
                  </p:ext>
                </p:extLst>
              </p:nvPr>
            </p:nvGraphicFramePr>
            <p:xfrm>
              <a:off x="5352687" y="10635065"/>
              <a:ext cx="5247550" cy="403004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67407710-5155-5A48-8879-CE5AE115A02B}"/>
                  </a:ext>
                </a:extLst>
              </p:cNvPr>
              <p:cNvSpPr/>
              <p:nvPr/>
            </p:nvSpPr>
            <p:spPr bwMode="auto">
              <a:xfrm>
                <a:off x="1989857" y="12507095"/>
                <a:ext cx="878700" cy="2275796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/>
                <a:r>
                  <a:rPr lang="en-US" sz="2000">
                    <a:solidFill>
                      <a:schemeClr val="bg1"/>
                    </a:solidFill>
                  </a:rPr>
                  <a:t>72%</a:t>
                </a:r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E9131B89-D41B-7644-80EA-B2CDCBAFE039}"/>
                  </a:ext>
                </a:extLst>
              </p:cNvPr>
              <p:cNvSpPr/>
              <p:nvPr/>
            </p:nvSpPr>
            <p:spPr bwMode="auto">
              <a:xfrm>
                <a:off x="1990284" y="11617923"/>
                <a:ext cx="894835" cy="892216"/>
              </a:xfrm>
              <a:prstGeom prst="rect">
                <a:avLst/>
              </a:prstGeom>
              <a:solidFill>
                <a:srgbClr val="B1810B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/>
                <a:r>
                  <a:rPr lang="en-US" sz="1800" dirty="0">
                    <a:solidFill>
                      <a:schemeClr val="bg1"/>
                    </a:solidFill>
                  </a:rPr>
                  <a:t>28%</a:t>
                </a:r>
              </a:p>
            </p:txBody>
          </p: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2B1B1084-33FB-A945-A798-ED5E7C76C7C8}"/>
                  </a:ext>
                </a:extLst>
              </p:cNvPr>
              <p:cNvSpPr txBox="1"/>
              <p:nvPr/>
            </p:nvSpPr>
            <p:spPr>
              <a:xfrm>
                <a:off x="447998" y="11865947"/>
                <a:ext cx="1480526" cy="616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b="1" dirty="0">
                    <a:solidFill>
                      <a:srgbClr val="D23A43"/>
                    </a:solidFill>
                  </a:rPr>
                  <a:t>Missed</a:t>
                </a: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05C3ED9A-7465-5048-92FE-1710291B9BFB}"/>
                  </a:ext>
                </a:extLst>
              </p:cNvPr>
              <p:cNvSpPr txBox="1"/>
              <p:nvPr/>
            </p:nvSpPr>
            <p:spPr>
              <a:xfrm>
                <a:off x="570406" y="13369897"/>
                <a:ext cx="1380507" cy="8066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2000" b="1" dirty="0">
                    <a:solidFill>
                      <a:schemeClr val="bg1">
                        <a:lumMod val="50000"/>
                      </a:schemeClr>
                    </a:solidFill>
                  </a:rPr>
                  <a:t>Predicted</a:t>
                </a:r>
              </a:p>
              <a:p>
                <a:pPr algn="r"/>
                <a:r>
                  <a:rPr lang="en-US" sz="2000" b="1" dirty="0">
                    <a:solidFill>
                      <a:schemeClr val="bg1">
                        <a:lumMod val="50000"/>
                      </a:schemeClr>
                    </a:solidFill>
                  </a:rPr>
                  <a:t>Accurately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4394BBF2-AEB4-7B47-B05E-AE8DB256E24D}"/>
                  </a:ext>
                </a:extLst>
              </p:cNvPr>
              <p:cNvSpPr/>
              <p:nvPr/>
            </p:nvSpPr>
            <p:spPr>
              <a:xfrm>
                <a:off x="3285318" y="11561193"/>
                <a:ext cx="1766284" cy="1042567"/>
              </a:xfrm>
              <a:prstGeom prst="rect">
                <a:avLst/>
              </a:prstGeom>
              <a:solidFill>
                <a:srgbClr val="F9E3E4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 dirty="0">
                    <a:solidFill>
                      <a:srgbClr val="D23A43"/>
                    </a:solidFill>
                    <a:latin typeface="+mj-lt"/>
                  </a:rPr>
                  <a:t>$20-22 million</a:t>
                </a:r>
              </a:p>
            </p:txBody>
          </p: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57C599A-68DD-2E43-9890-25B36B3AC031}"/>
                  </a:ext>
                </a:extLst>
              </p:cNvPr>
              <p:cNvCxnSpPr/>
              <p:nvPr/>
            </p:nvCxnSpPr>
            <p:spPr bwMode="auto">
              <a:xfrm>
                <a:off x="5120752" y="11692472"/>
                <a:ext cx="0" cy="283836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B9B630E1-38F2-0245-B66D-F44F4CBCD16F}"/>
                  </a:ext>
                </a:extLst>
              </p:cNvPr>
              <p:cNvSpPr txBox="1"/>
              <p:nvPr/>
            </p:nvSpPr>
            <p:spPr>
              <a:xfrm>
                <a:off x="2885120" y="13342982"/>
                <a:ext cx="2166486" cy="15659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00" dirty="0">
                    <a:solidFill>
                      <a:srgbClr val="D23A43"/>
                    </a:solidFill>
                  </a:rPr>
                  <a:t>Opportunity Cost After Prediction</a:t>
                </a:r>
              </a:p>
            </p:txBody>
          </p: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6CEC053F-228E-FC4A-83B9-EC742307DC08}"/>
                  </a:ext>
                </a:extLst>
              </p:cNvPr>
              <p:cNvCxnSpPr/>
              <p:nvPr/>
            </p:nvCxnSpPr>
            <p:spPr bwMode="auto">
              <a:xfrm flipV="1">
                <a:off x="2714956" y="11556815"/>
                <a:ext cx="555882" cy="61109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D23A43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5260EC54-3489-8D4C-BE9A-5A2342383756}"/>
                  </a:ext>
                </a:extLst>
              </p:cNvPr>
              <p:cNvCxnSpPr/>
              <p:nvPr/>
            </p:nvCxnSpPr>
            <p:spPr bwMode="auto">
              <a:xfrm>
                <a:off x="2713316" y="12507095"/>
                <a:ext cx="557094" cy="96667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D23A43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33CC86E8-1383-B342-8598-23233862E4BB}"/>
                  </a:ext>
                </a:extLst>
              </p:cNvPr>
              <p:cNvSpPr txBox="1"/>
              <p:nvPr/>
            </p:nvSpPr>
            <p:spPr>
              <a:xfrm>
                <a:off x="1081710" y="14890926"/>
                <a:ext cx="2137374" cy="616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dirty="0">
                    <a:latin typeface="Arial" panose="020B0604020202020204" pitchFamily="34" charset="0"/>
                    <a:cs typeface="Arial" panose="020B0604020202020204" pitchFamily="34" charset="0"/>
                  </a:rPr>
                  <a:t>Precision</a:t>
                </a: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C1A0A287-F672-534E-BAC0-53995BC5AE7F}"/>
                  </a:ext>
                </a:extLst>
              </p:cNvPr>
              <p:cNvSpPr txBox="1"/>
              <p:nvPr/>
            </p:nvSpPr>
            <p:spPr>
              <a:xfrm>
                <a:off x="5102182" y="14526570"/>
                <a:ext cx="1625497" cy="616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dirty="0">
                    <a:latin typeface="Arial" panose="020B0604020202020204" pitchFamily="34" charset="0"/>
                    <a:cs typeface="Arial" panose="020B0604020202020204" pitchFamily="34" charset="0"/>
                  </a:rPr>
                  <a:t>Overall</a:t>
                </a: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C75D4517-D02F-F348-B433-50C3F3FC2BE6}"/>
                  </a:ext>
                </a:extLst>
              </p:cNvPr>
              <p:cNvSpPr txBox="1"/>
              <p:nvPr/>
            </p:nvSpPr>
            <p:spPr>
              <a:xfrm>
                <a:off x="6521838" y="14540185"/>
                <a:ext cx="1625497" cy="616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dirty="0">
                    <a:latin typeface="Arial" panose="020B0604020202020204" pitchFamily="34" charset="0"/>
                    <a:cs typeface="Arial" panose="020B0604020202020204" pitchFamily="34" charset="0"/>
                  </a:rPr>
                  <a:t>Seafood</a:t>
                </a: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8195142E-1711-C443-9118-D7734DF20406}"/>
                  </a:ext>
                </a:extLst>
              </p:cNvPr>
              <p:cNvSpPr txBox="1"/>
              <p:nvPr/>
            </p:nvSpPr>
            <p:spPr>
              <a:xfrm>
                <a:off x="8077967" y="14520638"/>
                <a:ext cx="1417878" cy="616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dirty="0">
                    <a:latin typeface="Arial" panose="020B0604020202020204" pitchFamily="34" charset="0"/>
                    <a:cs typeface="Arial" panose="020B0604020202020204" pitchFamily="34" charset="0"/>
                  </a:rPr>
                  <a:t>Bakery</a:t>
                </a: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E87CB077-388E-FF42-9AC8-6DA08D47F948}"/>
                  </a:ext>
                </a:extLst>
              </p:cNvPr>
              <p:cNvSpPr txBox="1"/>
              <p:nvPr/>
            </p:nvSpPr>
            <p:spPr>
              <a:xfrm>
                <a:off x="9506632" y="14504628"/>
                <a:ext cx="1181233" cy="616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dirty="0">
                    <a:latin typeface="Arial" panose="020B0604020202020204" pitchFamily="34" charset="0"/>
                    <a:cs typeface="Arial" panose="020B0604020202020204" pitchFamily="34" charset="0"/>
                  </a:rPr>
                  <a:t>Dairy</a:t>
                </a: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48844997-85A0-EF4E-BE74-1FE8E4616887}"/>
                  </a:ext>
                </a:extLst>
              </p:cNvPr>
              <p:cNvSpPr txBox="1"/>
              <p:nvPr/>
            </p:nvSpPr>
            <p:spPr>
              <a:xfrm>
                <a:off x="5757998" y="13271402"/>
                <a:ext cx="834776" cy="4559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95%</a:t>
                </a:r>
              </a:p>
            </p:txBody>
          </p: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7F70B75A-1265-5B44-A70D-EE452D47F5E5}"/>
                  </a:ext>
                </a:extLst>
              </p:cNvPr>
              <p:cNvSpPr txBox="1"/>
              <p:nvPr/>
            </p:nvSpPr>
            <p:spPr>
              <a:xfrm>
                <a:off x="7038933" y="13264313"/>
                <a:ext cx="806055" cy="4559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79%</a:t>
                </a: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FC4E63E5-B7B9-F741-81FA-F59837D8D697}"/>
                  </a:ext>
                </a:extLst>
              </p:cNvPr>
              <p:cNvSpPr txBox="1"/>
              <p:nvPr/>
            </p:nvSpPr>
            <p:spPr>
              <a:xfrm>
                <a:off x="8261748" y="13264313"/>
                <a:ext cx="828641" cy="4559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93%</a:t>
                </a:r>
              </a:p>
            </p:txBody>
          </p: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22A44EC4-B900-1D4E-ADB6-8B90EAA0522A}"/>
                  </a:ext>
                </a:extLst>
              </p:cNvPr>
              <p:cNvSpPr txBox="1"/>
              <p:nvPr/>
            </p:nvSpPr>
            <p:spPr>
              <a:xfrm>
                <a:off x="9498156" y="13197706"/>
                <a:ext cx="763812" cy="4559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97%</a:t>
                </a:r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3F27159E-6594-F749-BECC-B1A8428F10E6}"/>
                  </a:ext>
                </a:extLst>
              </p:cNvPr>
              <p:cNvSpPr/>
              <p:nvPr/>
            </p:nvSpPr>
            <p:spPr bwMode="auto">
              <a:xfrm>
                <a:off x="6623498" y="15124273"/>
                <a:ext cx="193030" cy="29136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/>
                <a:endParaRPr lang="en-US" sz="1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BB524766-5046-F442-9A26-99A0E11899D6}"/>
                  </a:ext>
                </a:extLst>
              </p:cNvPr>
              <p:cNvSpPr/>
              <p:nvPr/>
            </p:nvSpPr>
            <p:spPr bwMode="auto">
              <a:xfrm>
                <a:off x="8537920" y="15125149"/>
                <a:ext cx="213218" cy="321988"/>
              </a:xfrm>
              <a:prstGeom prst="rect">
                <a:avLst/>
              </a:prstGeom>
              <a:solidFill>
                <a:srgbClr val="B1810B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/>
                <a:endParaRPr lang="en-US" sz="1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CCF34E05-78CC-174F-9EB5-A566BA2A6D1D}"/>
                  </a:ext>
                </a:extLst>
              </p:cNvPr>
              <p:cNvSpPr txBox="1"/>
              <p:nvPr/>
            </p:nvSpPr>
            <p:spPr>
              <a:xfrm>
                <a:off x="6816527" y="15000470"/>
                <a:ext cx="1532426" cy="616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OOS</a:t>
                </a:r>
              </a:p>
            </p:txBody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3B40F540-6DDA-4E47-99DB-6A050D24BE7F}"/>
                  </a:ext>
                </a:extLst>
              </p:cNvPr>
              <p:cNvSpPr txBox="1"/>
              <p:nvPr/>
            </p:nvSpPr>
            <p:spPr>
              <a:xfrm>
                <a:off x="8739538" y="14986380"/>
                <a:ext cx="2274784" cy="616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Not OOS</a:t>
                </a:r>
              </a:p>
            </p:txBody>
          </p:sp>
        </p:grpSp>
      </p:grpSp>
      <p:sp>
        <p:nvSpPr>
          <p:cNvPr id="144" name="Rectangle 143">
            <a:extLst>
              <a:ext uri="{FF2B5EF4-FFF2-40B4-BE49-F238E27FC236}">
                <a16:creationId xmlns:a16="http://schemas.microsoft.com/office/drawing/2014/main" id="{6CDBA55F-FD05-314A-96B3-BD903C48701D}"/>
              </a:ext>
            </a:extLst>
          </p:cNvPr>
          <p:cNvSpPr/>
          <p:nvPr/>
        </p:nvSpPr>
        <p:spPr bwMode="auto">
          <a:xfrm>
            <a:off x="34648141" y="264041"/>
            <a:ext cx="9261136" cy="569888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1F41151D-D6E8-3646-93D8-AD23134EE19B}"/>
              </a:ext>
            </a:extLst>
          </p:cNvPr>
          <p:cNvSpPr/>
          <p:nvPr/>
        </p:nvSpPr>
        <p:spPr>
          <a:xfrm>
            <a:off x="34474970" y="363575"/>
            <a:ext cx="91589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 EVALUATION – BUSINESS IMPLICATIONS</a:t>
            </a:r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A4045B48-3758-424B-8B28-53A1B94CD3F9}"/>
              </a:ext>
            </a:extLst>
          </p:cNvPr>
          <p:cNvGrpSpPr/>
          <p:nvPr/>
        </p:nvGrpSpPr>
        <p:grpSpPr>
          <a:xfrm>
            <a:off x="35337568" y="8401720"/>
            <a:ext cx="7943101" cy="3227644"/>
            <a:chOff x="25289585" y="11815798"/>
            <a:chExt cx="7270041" cy="3385539"/>
          </a:xfrm>
        </p:grpSpPr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1B2AB3AA-2DA2-C94A-9D6B-3FC5CD7DC995}"/>
                </a:ext>
              </a:extLst>
            </p:cNvPr>
            <p:cNvGrpSpPr/>
            <p:nvPr/>
          </p:nvGrpSpPr>
          <p:grpSpPr>
            <a:xfrm>
              <a:off x="25289585" y="11815798"/>
              <a:ext cx="7270041" cy="3385539"/>
              <a:chOff x="1149350" y="904695"/>
              <a:chExt cx="7226300" cy="3457830"/>
            </a:xfrm>
          </p:grpSpPr>
          <p:sp>
            <p:nvSpPr>
              <p:cNvPr id="159" name="Text Placeholder 11">
                <a:extLst>
                  <a:ext uri="{FF2B5EF4-FFF2-40B4-BE49-F238E27FC236}">
                    <a16:creationId xmlns:a16="http://schemas.microsoft.com/office/drawing/2014/main" id="{A377BADA-2D45-6D4B-BA5B-F2A70A34C05B}"/>
                  </a:ext>
                </a:extLst>
              </p:cNvPr>
              <p:cNvSpPr>
                <a:spLocks noGrp="1"/>
              </p:cNvSpPr>
              <p:nvPr/>
            </p:nvSpPr>
            <p:spPr bwMode="gray">
              <a:xfrm>
                <a:off x="7626350" y="1662747"/>
                <a:ext cx="312738" cy="2016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rgbClr r="0" g="0" b="0"/>
                    </a:solidFill>
                  </a14:hiddenFill>
                </a:ext>
                <a:ext uri="{909E8E84-426E-40dd-AFC4-6F175D3DCCD1}">
                  <a14:hiddenFill xmlns="" xmlns:lc="http://schemas.openxmlformats.org/drawingml/2006/lockedCanvas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lc="http://schemas.openxmlformats.org/drawingml/2006/lockedCanvas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FAA26D3D-D897-4be2-8F04-BA451C77F1D7}">
                  <ma14:placeholderFlag xmlns="" xmlns:lc="http://schemas.openxmlformats.org/drawingml/2006/lockedCanvas" xmlns:ma14="http://schemas.microsoft.com/office/mac/drawingml/2011/main" val="1"/>
                </a:ext>
              </a:extLst>
            </p:spPr>
            <p:txBody>
              <a:bodyPr vert="horz" wrap="none" lIns="20638" tIns="0" rIns="20638" bIns="0" numCol="1" spcCol="0" anchor="b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algn="l" defTabSz="912813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 Light" charset="0"/>
                    <a:ea typeface="ＭＳ Ｐゴシック" charset="0"/>
                    <a:cs typeface="ＭＳ Ｐゴシック" charset="0"/>
                  </a:defRPr>
                </a:lvl1pPr>
                <a:lvl2pPr marL="455613" indent="1588" algn="l" defTabSz="912813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 Light" charset="0"/>
                    <a:ea typeface="ＭＳ Ｐゴシック" charset="0"/>
                    <a:cs typeface="ＭＳ Ｐゴシック" charset="0"/>
                  </a:defRPr>
                </a:lvl2pPr>
                <a:lvl3pPr marL="912813" indent="1588" algn="l" defTabSz="912813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 Light" charset="0"/>
                    <a:ea typeface="ＭＳ Ｐゴシック" charset="0"/>
                    <a:cs typeface="ＭＳ Ｐゴシック" charset="0"/>
                  </a:defRPr>
                </a:lvl3pPr>
                <a:lvl4pPr marL="1370013" indent="1588" algn="l" defTabSz="912813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 Light" charset="0"/>
                    <a:ea typeface="ＭＳ Ｐゴシック" charset="0"/>
                    <a:cs typeface="ＭＳ Ｐゴシック" charset="0"/>
                  </a:defRPr>
                </a:lvl4pPr>
                <a:lvl5pPr marL="1827213" indent="1588" algn="l" defTabSz="912813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 Light" charset="0"/>
                    <a:ea typeface="ＭＳ Ｐゴシック" charset="0"/>
                    <a:cs typeface="ＭＳ Ｐゴシック" charset="0"/>
                  </a:defRPr>
                </a:lvl5pPr>
                <a:lvl6pPr marL="2286000" algn="l" defTabSz="457200" rtl="0" eaLnBrk="1" latinLnBrk="0" hangingPunct="1">
                  <a:defRPr kern="1200">
                    <a:solidFill>
                      <a:schemeClr val="tx1"/>
                    </a:solidFill>
                    <a:latin typeface="Roboto Light" charset="0"/>
                    <a:ea typeface="ＭＳ Ｐゴシック" charset="0"/>
                    <a:cs typeface="ＭＳ Ｐゴシック" charset="0"/>
                  </a:defRPr>
                </a:lvl6pPr>
                <a:lvl7pPr marL="2743200" algn="l" defTabSz="457200" rtl="0" eaLnBrk="1" latinLnBrk="0" hangingPunct="1">
                  <a:defRPr kern="1200">
                    <a:solidFill>
                      <a:schemeClr val="tx1"/>
                    </a:solidFill>
                    <a:latin typeface="Roboto Light" charset="0"/>
                    <a:ea typeface="ＭＳ Ｐゴシック" charset="0"/>
                    <a:cs typeface="ＭＳ Ｐゴシック" charset="0"/>
                  </a:defRPr>
                </a:lvl7pPr>
                <a:lvl8pPr marL="3200400" algn="l" defTabSz="457200" rtl="0" eaLnBrk="1" latinLnBrk="0" hangingPunct="1">
                  <a:defRPr kern="1200">
                    <a:solidFill>
                      <a:schemeClr val="tx1"/>
                    </a:solidFill>
                    <a:latin typeface="Roboto Light" charset="0"/>
                    <a:ea typeface="ＭＳ Ｐゴシック" charset="0"/>
                    <a:cs typeface="ＭＳ Ｐゴシック" charset="0"/>
                  </a:defRPr>
                </a:lvl8pPr>
                <a:lvl9pPr marL="3657600" algn="l" defTabSz="457200" rtl="0" eaLnBrk="1" latinLnBrk="0" hangingPunct="1">
                  <a:defRPr kern="1200">
                    <a:solidFill>
                      <a:schemeClr val="tx1"/>
                    </a:solidFill>
                    <a:latin typeface="Roboto Light" charset="0"/>
                    <a:ea typeface="ＭＳ Ｐゴシック" charset="0"/>
                    <a:cs typeface="ＭＳ Ｐゴシック" charset="0"/>
                  </a:defRPr>
                </a:lvl9pPr>
              </a:lstStyle>
              <a:p>
                <a:fld id="{836D957C-DB45-47DD-9CDF-56638D547EB8}" type="datetime'''5''''''0''''''''''''''''''''''.''''''''6'''''''">
                  <a:rPr lang="en-US" altLang="en-US" sz="20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pPr/>
                  <a:t>50.6</a:t>
                </a:fld>
                <a:endParaRPr lang="en-US" sz="1100" b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grpSp>
            <p:nvGrpSpPr>
              <p:cNvPr id="160" name="Group 159">
                <a:extLst>
                  <a:ext uri="{FF2B5EF4-FFF2-40B4-BE49-F238E27FC236}">
                    <a16:creationId xmlns:a16="http://schemas.microsoft.com/office/drawing/2014/main" id="{AAB11AA6-74F1-CF47-8032-E44A64CC7179}"/>
                  </a:ext>
                </a:extLst>
              </p:cNvPr>
              <p:cNvGrpSpPr/>
              <p:nvPr/>
            </p:nvGrpSpPr>
            <p:grpSpPr>
              <a:xfrm>
                <a:off x="1149350" y="904695"/>
                <a:ext cx="7226300" cy="3457830"/>
                <a:chOff x="1149350" y="904695"/>
                <a:chExt cx="7226300" cy="3457830"/>
              </a:xfrm>
            </p:grpSpPr>
            <p:cxnSp>
              <p:nvCxnSpPr>
                <p:cNvPr id="161" name="Straight Connector 160">
                  <a:extLst>
                    <a:ext uri="{FF2B5EF4-FFF2-40B4-BE49-F238E27FC236}">
                      <a16:creationId xmlns:a16="http://schemas.microsoft.com/office/drawing/2014/main" id="{A369AA3B-D0BC-AD43-9EB9-F4717149E2A5}"/>
                    </a:ext>
                  </a:extLst>
                </p:cNvPr>
                <p:cNvCxnSpPr/>
                <p:nvPr/>
              </p:nvCxnSpPr>
              <p:spPr bwMode="auto">
                <a:xfrm>
                  <a:off x="2016125" y="3605213"/>
                  <a:ext cx="447675" cy="0"/>
                </a:xfrm>
                <a:prstGeom prst="line">
                  <a:avLst/>
                </a:prstGeom>
                <a:ln w="3175" cap="flat" cmpd="sng" algn="ctr">
                  <a:solidFill>
                    <a:schemeClr val="tx1"/>
                  </a:solidFill>
                  <a:prstDash val="lgDash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40000" dist="20000" dir="5400000" rotWithShape="0">
                          <a:srgbClr val="000000">
                            <a:alpha val="38000"/>
                          </a:srgbClr>
                        </a:outerShdw>
                      </a:effectLst>
                    </a14:hiddenEffects>
                  </a:ext>
                </a:extLst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2" name="Straight Connector 161">
                  <a:extLst>
                    <a:ext uri="{FF2B5EF4-FFF2-40B4-BE49-F238E27FC236}">
                      <a16:creationId xmlns:a16="http://schemas.microsoft.com/office/drawing/2014/main" id="{DBE2C1B8-9A91-8544-9AF2-E83BFD384A95}"/>
                    </a:ext>
                  </a:extLst>
                </p:cNvPr>
                <p:cNvCxnSpPr/>
                <p:nvPr/>
              </p:nvCxnSpPr>
              <p:spPr bwMode="auto">
                <a:xfrm>
                  <a:off x="3025775" y="2422525"/>
                  <a:ext cx="447675" cy="0"/>
                </a:xfrm>
                <a:prstGeom prst="line">
                  <a:avLst/>
                </a:prstGeom>
                <a:ln w="3175" cap="flat" cmpd="sng" algn="ctr">
                  <a:solidFill>
                    <a:schemeClr val="tx1"/>
                  </a:solidFill>
                  <a:prstDash val="lgDash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40000" dist="20000" dir="5400000" rotWithShape="0">
                          <a:srgbClr val="000000">
                            <a:alpha val="38000"/>
                          </a:srgbClr>
                        </a:outerShdw>
                      </a:effectLst>
                    </a14:hiddenEffects>
                  </a:ext>
                </a:extLst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3" name="Straight Connector 162">
                  <a:extLst>
                    <a:ext uri="{FF2B5EF4-FFF2-40B4-BE49-F238E27FC236}">
                      <a16:creationId xmlns:a16="http://schemas.microsoft.com/office/drawing/2014/main" id="{E50C5DD6-DB0B-4642-A707-844C775FC3A9}"/>
                    </a:ext>
                  </a:extLst>
                </p:cNvPr>
                <p:cNvCxnSpPr/>
                <p:nvPr/>
              </p:nvCxnSpPr>
              <p:spPr bwMode="auto">
                <a:xfrm>
                  <a:off x="7061200" y="1192213"/>
                  <a:ext cx="447675" cy="0"/>
                </a:xfrm>
                <a:prstGeom prst="line">
                  <a:avLst/>
                </a:prstGeom>
                <a:ln w="3175" cap="flat" cmpd="sng" algn="ctr">
                  <a:solidFill>
                    <a:schemeClr val="tx1"/>
                  </a:solidFill>
                  <a:prstDash val="lgDash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40000" dist="20000" dir="5400000" rotWithShape="0">
                          <a:srgbClr val="000000">
                            <a:alpha val="38000"/>
                          </a:srgbClr>
                        </a:outerShdw>
                      </a:effectLst>
                    </a14:hiddenEffects>
                  </a:ext>
                </a:extLst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" name="Straight Connector 163">
                  <a:extLst>
                    <a:ext uri="{FF2B5EF4-FFF2-40B4-BE49-F238E27FC236}">
                      <a16:creationId xmlns:a16="http://schemas.microsoft.com/office/drawing/2014/main" id="{9670C39F-46DA-064C-861C-89D8EEA45452}"/>
                    </a:ext>
                  </a:extLst>
                </p:cNvPr>
                <p:cNvCxnSpPr/>
                <p:nvPr/>
              </p:nvCxnSpPr>
              <p:spPr bwMode="auto">
                <a:xfrm>
                  <a:off x="5043488" y="1654175"/>
                  <a:ext cx="447675" cy="0"/>
                </a:xfrm>
                <a:prstGeom prst="line">
                  <a:avLst/>
                </a:prstGeom>
                <a:ln w="3175" cap="flat" cmpd="sng" algn="ctr">
                  <a:solidFill>
                    <a:schemeClr val="tx1"/>
                  </a:solidFill>
                  <a:prstDash val="lgDash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40000" dist="20000" dir="5400000" rotWithShape="0">
                          <a:srgbClr val="000000">
                            <a:alpha val="38000"/>
                          </a:srgbClr>
                        </a:outerShdw>
                      </a:effectLst>
                    </a14:hiddenEffects>
                  </a:ext>
                </a:extLst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Straight Connector 164">
                  <a:extLst>
                    <a:ext uri="{FF2B5EF4-FFF2-40B4-BE49-F238E27FC236}">
                      <a16:creationId xmlns:a16="http://schemas.microsoft.com/office/drawing/2014/main" id="{46FE00C3-C677-644A-B7A1-8373E2BE92A1}"/>
                    </a:ext>
                  </a:extLst>
                </p:cNvPr>
                <p:cNvCxnSpPr/>
                <p:nvPr/>
              </p:nvCxnSpPr>
              <p:spPr bwMode="auto">
                <a:xfrm>
                  <a:off x="6051550" y="1522413"/>
                  <a:ext cx="447675" cy="0"/>
                </a:xfrm>
                <a:prstGeom prst="line">
                  <a:avLst/>
                </a:prstGeom>
                <a:ln w="3175" cap="flat" cmpd="sng" algn="ctr">
                  <a:solidFill>
                    <a:schemeClr val="tx1"/>
                  </a:solidFill>
                  <a:prstDash val="lgDash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40000" dist="20000" dir="5400000" rotWithShape="0">
                          <a:srgbClr val="000000">
                            <a:alpha val="38000"/>
                          </a:srgbClr>
                        </a:outerShdw>
                      </a:effectLst>
                    </a14:hiddenEffects>
                  </a:ext>
                </a:extLst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6" name="Straight Connector 165">
                  <a:extLst>
                    <a:ext uri="{FF2B5EF4-FFF2-40B4-BE49-F238E27FC236}">
                      <a16:creationId xmlns:a16="http://schemas.microsoft.com/office/drawing/2014/main" id="{1AA123BB-EAAC-9B4A-B470-411A9CBABA28}"/>
                    </a:ext>
                  </a:extLst>
                </p:cNvPr>
                <p:cNvCxnSpPr/>
                <p:nvPr/>
              </p:nvCxnSpPr>
              <p:spPr bwMode="auto">
                <a:xfrm>
                  <a:off x="4033838" y="1773238"/>
                  <a:ext cx="447675" cy="0"/>
                </a:xfrm>
                <a:prstGeom prst="line">
                  <a:avLst/>
                </a:prstGeom>
                <a:ln w="3175" cap="flat" cmpd="sng" algn="ctr">
                  <a:solidFill>
                    <a:schemeClr val="tx1"/>
                  </a:solidFill>
                  <a:prstDash val="lgDash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40000" dist="20000" dir="5400000" rotWithShape="0">
                          <a:srgbClr val="000000">
                            <a:alpha val="38000"/>
                          </a:srgbClr>
                        </a:outerShdw>
                      </a:effectLst>
                    </a14:hiddenEffects>
                  </a:ext>
                </a:extLst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graphicFrame>
              <p:nvGraphicFramePr>
                <p:cNvPr id="167" name="Chart 166">
                  <a:extLst>
                    <a:ext uri="{FF2B5EF4-FFF2-40B4-BE49-F238E27FC236}">
                      <a16:creationId xmlns:a16="http://schemas.microsoft.com/office/drawing/2014/main" id="{66D56AEA-FB1E-7C4A-8F08-998A9D103689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051614566"/>
                    </p:ext>
                  </p:extLst>
                </p:nvPr>
              </p:nvGraphicFramePr>
              <p:xfrm>
                <a:off x="1149350" y="1109663"/>
                <a:ext cx="7226300" cy="3022600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"/>
                </a:graphicData>
              </a:graphic>
            </p:graphicFrame>
            <p:sp>
              <p:nvSpPr>
                <p:cNvPr id="168" name="Text Placeholder 11">
                  <a:extLst>
                    <a:ext uri="{FF2B5EF4-FFF2-40B4-BE49-F238E27FC236}">
                      <a16:creationId xmlns:a16="http://schemas.microsoft.com/office/drawing/2014/main" id="{E3E99342-B0A5-DE46-86A7-B6077606E9EA}"/>
                    </a:ext>
                  </a:extLst>
                </p:cNvPr>
                <p:cNvSpPr>
                  <a:spLocks noGrp="1"/>
                </p:cNvSpPr>
                <p:nvPr/>
              </p:nvSpPr>
              <p:spPr bwMode="auto">
                <a:xfrm>
                  <a:off x="1449388" y="4095750"/>
                  <a:ext cx="573088" cy="2016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rgbClr r="0" g="0" b="0"/>
                      </a:solidFill>
                    </a14:hiddenFill>
                  </a:ext>
                  <a:ext uri="{909E8E84-426E-40dd-AFC4-6F175D3DCCD1}">
                    <a14:hiddenFill xmlns="" xmlns:lc="http://schemas.openxmlformats.org/drawingml/2006/lockedCanvas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lc="http://schemas.openxmlformats.org/drawingml/2006/lockedCanvas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FAA26D3D-D897-4be2-8F04-BA451C77F1D7}">
                    <ma14:placeholderFlag xmlns="" xmlns:lc="http://schemas.openxmlformats.org/drawingml/2006/lockedCanvas" xmlns:ma14="http://schemas.microsoft.com/office/mac/drawingml/2011/main" val="1"/>
                  </a:ext>
                </a:extLst>
              </p:spPr>
              <p:txBody>
                <a:bodyPr vert="horz" wrap="none" lIns="0" tIns="0" rIns="0" bIns="0" numCol="1" spcCol="0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1pPr>
                  <a:lvl2pPr marL="4556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2pPr>
                  <a:lvl3pPr marL="9128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3pPr>
                  <a:lvl4pPr marL="13700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4pPr>
                  <a:lvl5pPr marL="18272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5pPr>
                  <a:lvl6pPr marL="22860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6pPr>
                  <a:lvl7pPr marL="27432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7pPr>
                  <a:lvl8pPr marL="32004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8pPr>
                  <a:lvl9pPr marL="36576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9pPr>
                </a:lstStyle>
                <a:p>
                  <a:fld id="{6C697B0B-CA0F-46FE-AAB9-D7F17EAA5733}" type="datetime'''''''P''''''''''''''''''''''''''''''rod''u''''''c''e'''''''''">
                    <a:rPr lang="en-US" altLang="en-US" sz="2000" b="1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rPr>
                    <a:pPr/>
                    <a:t>Produce</a:t>
                  </a:fld>
                  <a:endParaRPr lang="en-US" b="1"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69" name="Text Placeholder 11">
                  <a:extLst>
                    <a:ext uri="{FF2B5EF4-FFF2-40B4-BE49-F238E27FC236}">
                      <a16:creationId xmlns:a16="http://schemas.microsoft.com/office/drawing/2014/main" id="{65E32720-DA2C-8841-A6A8-F6309BBE08AC}"/>
                    </a:ext>
                  </a:extLst>
                </p:cNvPr>
                <p:cNvSpPr>
                  <a:spLocks noGrp="1"/>
                </p:cNvSpPr>
                <p:nvPr/>
              </p:nvSpPr>
              <p:spPr bwMode="auto">
                <a:xfrm>
                  <a:off x="5487988" y="4095750"/>
                  <a:ext cx="565150" cy="2016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rgbClr r="0" g="0" b="0"/>
                      </a:solidFill>
                    </a14:hiddenFill>
                  </a:ext>
                  <a:ext uri="{909E8E84-426E-40dd-AFC4-6F175D3DCCD1}">
                    <a14:hiddenFill xmlns="" xmlns:lc="http://schemas.openxmlformats.org/drawingml/2006/lockedCanvas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lc="http://schemas.openxmlformats.org/drawingml/2006/lockedCanvas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FAA26D3D-D897-4be2-8F04-BA451C77F1D7}">
                    <ma14:placeholderFlag xmlns="" xmlns:lc="http://schemas.openxmlformats.org/drawingml/2006/lockedCanvas" xmlns:ma14="http://schemas.microsoft.com/office/mac/drawingml/2011/main" val="1"/>
                  </a:ext>
                </a:extLst>
              </p:spPr>
              <p:txBody>
                <a:bodyPr vert="horz" wrap="none" lIns="0" tIns="0" rIns="0" bIns="0" numCol="1" spcCol="0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1pPr>
                  <a:lvl2pPr marL="4556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2pPr>
                  <a:lvl3pPr marL="9128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3pPr>
                  <a:lvl4pPr marL="13700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4pPr>
                  <a:lvl5pPr marL="18272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5pPr>
                  <a:lvl6pPr marL="22860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6pPr>
                  <a:lvl7pPr marL="27432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7pPr>
                  <a:lvl8pPr marL="32004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8pPr>
                  <a:lvl9pPr marL="36576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9pPr>
                </a:lstStyle>
                <a:p>
                  <a:fld id="{A0F57AF3-3EFB-461B-A253-4E5B0BB92360}" type="datetime'''''S''''e''''''''''''a''''''''''''''''''''''''fo''''''''od'">
                    <a:rPr lang="en-US" altLang="en-US" sz="2000" b="1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rPr>
                    <a:pPr/>
                    <a:t>Seafood</a:t>
                  </a:fld>
                  <a:endParaRPr lang="en-US" b="1"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70" name="Text Placeholder 11">
                  <a:extLst>
                    <a:ext uri="{FF2B5EF4-FFF2-40B4-BE49-F238E27FC236}">
                      <a16:creationId xmlns:a16="http://schemas.microsoft.com/office/drawing/2014/main" id="{9CE41619-BCCA-534D-A929-787D9A544F05}"/>
                    </a:ext>
                  </a:extLst>
                </p:cNvPr>
                <p:cNvSpPr>
                  <a:spLocks noGrp="1"/>
                </p:cNvSpPr>
                <p:nvPr/>
              </p:nvSpPr>
              <p:spPr bwMode="auto">
                <a:xfrm>
                  <a:off x="2611438" y="4095750"/>
                  <a:ext cx="268288" cy="2016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rgbClr r="0" g="0" b="0"/>
                      </a:solidFill>
                    </a14:hiddenFill>
                  </a:ext>
                  <a:ext uri="{909E8E84-426E-40dd-AFC4-6F175D3DCCD1}">
                    <a14:hiddenFill xmlns="" xmlns:lc="http://schemas.openxmlformats.org/drawingml/2006/lockedCanvas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lc="http://schemas.openxmlformats.org/drawingml/2006/lockedCanvas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FAA26D3D-D897-4be2-8F04-BA451C77F1D7}">
                    <ma14:placeholderFlag xmlns="" xmlns:lc="http://schemas.openxmlformats.org/drawingml/2006/lockedCanvas" xmlns:ma14="http://schemas.microsoft.com/office/mac/drawingml/2011/main" val="1"/>
                  </a:ext>
                </a:extLst>
              </p:spPr>
              <p:txBody>
                <a:bodyPr vert="horz" wrap="none" lIns="0" tIns="0" rIns="0" bIns="0" numCol="1" spcCol="0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1pPr>
                  <a:lvl2pPr marL="4556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2pPr>
                  <a:lvl3pPr marL="9128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3pPr>
                  <a:lvl4pPr marL="13700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4pPr>
                  <a:lvl5pPr marL="18272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5pPr>
                  <a:lvl6pPr marL="22860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6pPr>
                  <a:lvl7pPr marL="27432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7pPr>
                  <a:lvl8pPr marL="32004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8pPr>
                  <a:lvl9pPr marL="36576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9pPr>
                </a:lstStyle>
                <a:p>
                  <a:fld id="{714B8252-5F25-4DDA-89DD-F7246B3624B3}" type="datetime'''''''''''D''''''''el''''''i'''">
                    <a:rPr lang="en-US" altLang="en-US" sz="2000" b="1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rPr>
                    <a:pPr/>
                    <a:t>Deli</a:t>
                  </a:fld>
                  <a:endParaRPr lang="en-US" b="1"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71" name="Text Placeholder 11">
                  <a:extLst>
                    <a:ext uri="{FF2B5EF4-FFF2-40B4-BE49-F238E27FC236}">
                      <a16:creationId xmlns:a16="http://schemas.microsoft.com/office/drawing/2014/main" id="{15C33D16-3773-7A49-95CB-FD40BD07E8DC}"/>
                    </a:ext>
                  </a:extLst>
                </p:cNvPr>
                <p:cNvSpPr>
                  <a:spLocks noGrp="1"/>
                </p:cNvSpPr>
                <p:nvPr/>
              </p:nvSpPr>
              <p:spPr bwMode="auto">
                <a:xfrm>
                  <a:off x="3587749" y="4095750"/>
                  <a:ext cx="330200" cy="2016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rgbClr r="0" g="0" b="0"/>
                      </a:solidFill>
                    </a14:hiddenFill>
                  </a:ext>
                  <a:ext uri="{909E8E84-426E-40dd-AFC4-6F175D3DCCD1}">
                    <a14:hiddenFill xmlns="" xmlns:lc="http://schemas.openxmlformats.org/drawingml/2006/lockedCanvas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lc="http://schemas.openxmlformats.org/drawingml/2006/lockedCanvas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FAA26D3D-D897-4be2-8F04-BA451C77F1D7}">
                    <ma14:placeholderFlag xmlns="" xmlns:lc="http://schemas.openxmlformats.org/drawingml/2006/lockedCanvas" xmlns:ma14="http://schemas.microsoft.com/office/mac/drawingml/2011/main" val="1"/>
                  </a:ext>
                </a:extLst>
              </p:spPr>
              <p:txBody>
                <a:bodyPr vert="horz" wrap="none" lIns="0" tIns="0" rIns="0" bIns="0" numCol="1" spcCol="0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1pPr>
                  <a:lvl2pPr marL="4556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2pPr>
                  <a:lvl3pPr marL="9128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3pPr>
                  <a:lvl4pPr marL="13700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4pPr>
                  <a:lvl5pPr marL="18272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5pPr>
                  <a:lvl6pPr marL="22860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6pPr>
                  <a:lvl7pPr marL="27432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7pPr>
                  <a:lvl8pPr marL="32004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8pPr>
                  <a:lvl9pPr marL="36576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9pPr>
                </a:lstStyle>
                <a:p>
                  <a:fld id="{A5BD977D-3C43-44C7-8426-91C4BD14A232}" type="datetime'''''''''''''''''''M''''e''''''a''''''''''t'''''''''''''''''">
                    <a:rPr lang="en-US" altLang="en-US" sz="2000" b="1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rPr>
                    <a:pPr/>
                    <a:t>Meat</a:t>
                  </a:fld>
                  <a:endParaRPr lang="en-US" b="1"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72" name="Text Placeholder 11">
                  <a:extLst>
                    <a:ext uri="{FF2B5EF4-FFF2-40B4-BE49-F238E27FC236}">
                      <a16:creationId xmlns:a16="http://schemas.microsoft.com/office/drawing/2014/main" id="{12BB486A-817C-3A41-A3A3-1294AF5311D2}"/>
                    </a:ext>
                  </a:extLst>
                </p:cNvPr>
                <p:cNvSpPr>
                  <a:spLocks noGrp="1"/>
                </p:cNvSpPr>
                <p:nvPr/>
              </p:nvSpPr>
              <p:spPr bwMode="auto">
                <a:xfrm>
                  <a:off x="6565900" y="4095750"/>
                  <a:ext cx="430213" cy="2016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rgbClr r="0" g="0" b="0"/>
                      </a:solidFill>
                    </a14:hiddenFill>
                  </a:ext>
                  <a:ext uri="{909E8E84-426E-40dd-AFC4-6F175D3DCCD1}">
                    <a14:hiddenFill xmlns="" xmlns:lc="http://schemas.openxmlformats.org/drawingml/2006/lockedCanvas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lc="http://schemas.openxmlformats.org/drawingml/2006/lockedCanvas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FAA26D3D-D897-4be2-8F04-BA451C77F1D7}">
                    <ma14:placeholderFlag xmlns="" xmlns:lc="http://schemas.openxmlformats.org/drawingml/2006/lockedCanvas" xmlns:ma14="http://schemas.microsoft.com/office/mac/drawingml/2011/main" val="1"/>
                  </a:ext>
                </a:extLst>
              </p:spPr>
              <p:txBody>
                <a:bodyPr vert="horz" wrap="none" lIns="0" tIns="0" rIns="0" bIns="0" numCol="1" spcCol="0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1pPr>
                  <a:lvl2pPr marL="4556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2pPr>
                  <a:lvl3pPr marL="9128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3pPr>
                  <a:lvl4pPr marL="13700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4pPr>
                  <a:lvl5pPr marL="18272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5pPr>
                  <a:lvl6pPr marL="22860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6pPr>
                  <a:lvl7pPr marL="27432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7pPr>
                  <a:lvl8pPr marL="32004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8pPr>
                  <a:lvl9pPr marL="36576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9pPr>
                </a:lstStyle>
                <a:p>
                  <a:fld id="{CFA311B6-B4FE-4DD0-A078-38008CB29B02}" type="datetime'''''''''''''''''''''''O''''''''t''h''e''''''r''''''s'''">
                    <a:rPr lang="en-US" altLang="en-US" sz="2000" b="1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rPr>
                    <a:pPr/>
                    <a:t>Others</a:t>
                  </a:fld>
                  <a:endParaRPr lang="en-US" b="1"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73" name="Text Placeholder 11">
                  <a:extLst>
                    <a:ext uri="{FF2B5EF4-FFF2-40B4-BE49-F238E27FC236}">
                      <a16:creationId xmlns:a16="http://schemas.microsoft.com/office/drawing/2014/main" id="{1FD88918-FF8F-924C-B3E2-86C44D9A45D3}"/>
                    </a:ext>
                  </a:extLst>
                </p:cNvPr>
                <p:cNvSpPr>
                  <a:spLocks noGrp="1"/>
                </p:cNvSpPr>
                <p:nvPr/>
              </p:nvSpPr>
              <p:spPr bwMode="auto">
                <a:xfrm>
                  <a:off x="7626350" y="4095750"/>
                  <a:ext cx="323850" cy="2016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rgbClr r="0" g="0" b="0"/>
                      </a:solidFill>
                    </a14:hiddenFill>
                  </a:ext>
                  <a:ext uri="{909E8E84-426E-40dd-AFC4-6F175D3DCCD1}">
                    <a14:hiddenFill xmlns="" xmlns:lc="http://schemas.openxmlformats.org/drawingml/2006/lockedCanvas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lc="http://schemas.openxmlformats.org/drawingml/2006/lockedCanvas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FAA26D3D-D897-4be2-8F04-BA451C77F1D7}">
                    <ma14:placeholderFlag xmlns="" xmlns:lc="http://schemas.openxmlformats.org/drawingml/2006/lockedCanvas" xmlns:ma14="http://schemas.microsoft.com/office/mac/drawingml/2011/main" val="1"/>
                  </a:ext>
                </a:extLst>
              </p:spPr>
              <p:txBody>
                <a:bodyPr vert="horz" wrap="none" lIns="0" tIns="0" rIns="0" bIns="0" numCol="1" spcCol="0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1pPr>
                  <a:lvl2pPr marL="4556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2pPr>
                  <a:lvl3pPr marL="9128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3pPr>
                  <a:lvl4pPr marL="13700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4pPr>
                  <a:lvl5pPr marL="18272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5pPr>
                  <a:lvl6pPr marL="22860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6pPr>
                  <a:lvl7pPr marL="27432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7pPr>
                  <a:lvl8pPr marL="32004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8pPr>
                  <a:lvl9pPr marL="36576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9pPr>
                </a:lstStyle>
                <a:p>
                  <a:fld id="{D75122EC-A470-42FB-B245-08D046D9A1D4}" type="datetime'''''''''''T''''''''''''''''''''''''''''''''''''ota''''''''''l'">
                    <a:rPr lang="en-US" altLang="en-US" sz="2000" b="1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rPr>
                    <a:pPr/>
                    <a:t>Total</a:t>
                  </a:fld>
                  <a:endParaRPr lang="en-US" b="1"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74" name="Text Placeholder 11">
                  <a:extLst>
                    <a:ext uri="{FF2B5EF4-FFF2-40B4-BE49-F238E27FC236}">
                      <a16:creationId xmlns:a16="http://schemas.microsoft.com/office/drawing/2014/main" id="{8D069220-FD2E-5F4E-9016-0D8AB2FD6148}"/>
                    </a:ext>
                  </a:extLst>
                </p:cNvPr>
                <p:cNvSpPr>
                  <a:spLocks noGrp="1"/>
                </p:cNvSpPr>
                <p:nvPr/>
              </p:nvSpPr>
              <p:spPr bwMode="auto">
                <a:xfrm>
                  <a:off x="4481513" y="4095750"/>
                  <a:ext cx="882650" cy="2016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rgbClr r="0" g="0" b="0"/>
                      </a:solidFill>
                    </a14:hiddenFill>
                  </a:ext>
                  <a:ext uri="{909E8E84-426E-40dd-AFC4-6F175D3DCCD1}">
                    <a14:hiddenFill xmlns="" xmlns:lc="http://schemas.openxmlformats.org/drawingml/2006/lockedCanvas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lc="http://schemas.openxmlformats.org/drawingml/2006/lockedCanvas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FAA26D3D-D897-4be2-8F04-BA451C77F1D7}">
                    <ma14:placeholderFlag xmlns="" xmlns:lc="http://schemas.openxmlformats.org/drawingml/2006/lockedCanvas" xmlns:ma14="http://schemas.microsoft.com/office/mac/drawingml/2011/main" val="1"/>
                  </a:ext>
                </a:extLst>
              </p:spPr>
              <p:txBody>
                <a:bodyPr vert="horz" wrap="none" lIns="0" tIns="0" rIns="0" bIns="0" numCol="1" spcCol="0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1pPr>
                  <a:lvl2pPr marL="4556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2pPr>
                  <a:lvl3pPr marL="9128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3pPr>
                  <a:lvl4pPr marL="13700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4pPr>
                  <a:lvl5pPr marL="18272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5pPr>
                  <a:lvl6pPr marL="22860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6pPr>
                  <a:lvl7pPr marL="27432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7pPr>
                  <a:lvl8pPr marL="32004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8pPr>
                  <a:lvl9pPr marL="36576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9pPr>
                </a:lstStyle>
                <a:p>
                  <a:r>
                    <a:rPr lang="en-US" sz="2000" b="1">
                      <a:latin typeface="Arial" panose="020B0604020202020204" pitchFamily="34" charset="0"/>
                      <a:ea typeface="ＭＳ Ｐゴシック" panose="020B0600070205080204" pitchFamily="34" charset="-128"/>
                      <a:cs typeface="Arial" panose="020B0604020202020204" pitchFamily="34" charset="0"/>
                      <a:sym typeface="Arial" panose="020B0604020202020204" pitchFamily="34" charset="0"/>
                    </a:rPr>
                    <a:t>Grocery</a:t>
                  </a:r>
                  <a:endParaRPr lang="en-US" b="1"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75" name="Text Placeholder 11">
                  <a:extLst>
                    <a:ext uri="{FF2B5EF4-FFF2-40B4-BE49-F238E27FC236}">
                      <a16:creationId xmlns:a16="http://schemas.microsoft.com/office/drawing/2014/main" id="{28A341F7-A17D-2146-87D6-327C2952E5CC}"/>
                    </a:ext>
                  </a:extLst>
                </p:cNvPr>
                <p:cNvSpPr>
                  <a:spLocks noGrp="1"/>
                </p:cNvSpPr>
                <p:nvPr/>
              </p:nvSpPr>
              <p:spPr bwMode="gray">
                <a:xfrm>
                  <a:off x="6481109" y="904695"/>
                  <a:ext cx="752527" cy="2833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rgbClr r="0" g="0" b="0"/>
                      </a:solidFill>
                    </a14:hiddenFill>
                  </a:ext>
                  <a:ext uri="{909E8E84-426E-40dd-AFC4-6F175D3DCCD1}">
                    <a14:hiddenFill xmlns="" xmlns:lc="http://schemas.openxmlformats.org/drawingml/2006/lockedCanvas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lc="http://schemas.openxmlformats.org/drawingml/2006/lockedCanvas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FAA26D3D-D897-4be2-8F04-BA451C77F1D7}">
                    <ma14:placeholderFlag xmlns="" xmlns:lc="http://schemas.openxmlformats.org/drawingml/2006/lockedCanvas" xmlns:ma14="http://schemas.microsoft.com/office/mac/drawingml/2011/main" val="1"/>
                  </a:ext>
                </a:extLst>
              </p:spPr>
              <p:txBody>
                <a:bodyPr vert="horz" wrap="none" lIns="20638" tIns="0" rIns="20638" bIns="0" numCol="1" spcCol="0" anchor="ctr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1pPr>
                  <a:lvl2pPr marL="4556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2pPr>
                  <a:lvl3pPr marL="9128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3pPr>
                  <a:lvl4pPr marL="13700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4pPr>
                  <a:lvl5pPr marL="18272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5pPr>
                  <a:lvl6pPr marL="22860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6pPr>
                  <a:lvl7pPr marL="27432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7pPr>
                  <a:lvl8pPr marL="32004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8pPr>
                  <a:lvl9pPr marL="36576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9pPr>
                </a:lstStyle>
                <a:p>
                  <a:fld id="{20E9C4FE-8E4E-4620-9F7C-7DFE75683DD9}" type="datetime'''''5''''''.''''''''''''9'''''">
                    <a:rPr lang="en-US" altLang="en-US" sz="2000" b="1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rPr>
                    <a:pPr/>
                    <a:t>5.9</a:t>
                  </a:fld>
                  <a:r>
                    <a:rPr lang="en-US" altLang="en-US" sz="2000" b="1" dirty="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rPr>
                    <a:t> M</a:t>
                  </a:r>
                  <a:endParaRPr lang="en-US" sz="1400" b="1" dirty="0"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E1FFDC57-3F9A-5049-9206-8482F3C87DC9}"/>
                    </a:ext>
                  </a:extLst>
                </p:cNvPr>
                <p:cNvSpPr/>
                <p:nvPr/>
              </p:nvSpPr>
              <p:spPr>
                <a:xfrm>
                  <a:off x="1379498" y="3128870"/>
                  <a:ext cx="704926" cy="1233655"/>
                </a:xfrm>
                <a:prstGeom prst="rect">
                  <a:avLst/>
                </a:prstGeom>
                <a:noFill/>
                <a:ln>
                  <a:solidFill>
                    <a:srgbClr val="D23A43"/>
                  </a:solidFill>
                  <a:prstDash val="dash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56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28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00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72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400">
                    <a:solidFill>
                      <a:schemeClr val="tx2"/>
                    </a:solidFill>
                  </a:endParaRPr>
                </a:p>
              </p:txBody>
            </p:sp>
          </p:grpSp>
        </p:grp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DD32E2DD-35F6-CA43-AE96-88D1AA45E1FB}"/>
                </a:ext>
              </a:extLst>
            </p:cNvPr>
            <p:cNvSpPr txBox="1"/>
            <p:nvPr/>
          </p:nvSpPr>
          <p:spPr>
            <a:xfrm>
              <a:off x="26562415" y="12891532"/>
              <a:ext cx="689864" cy="4196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21 M</a:t>
              </a: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22BED2EB-E773-8B48-B1AF-E4AED2DE3BF6}"/>
                </a:ext>
              </a:extLst>
            </p:cNvPr>
            <p:cNvSpPr txBox="1"/>
            <p:nvPr/>
          </p:nvSpPr>
          <p:spPr>
            <a:xfrm>
              <a:off x="25546587" y="14078171"/>
              <a:ext cx="754421" cy="4196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7.9 M</a:t>
              </a: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CEBC6035-011A-244B-91B5-4740202F78FD}"/>
                </a:ext>
              </a:extLst>
            </p:cNvPr>
            <p:cNvSpPr txBox="1"/>
            <p:nvPr/>
          </p:nvSpPr>
          <p:spPr>
            <a:xfrm>
              <a:off x="27485087" y="12326738"/>
              <a:ext cx="872029" cy="4196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11.5 M</a:t>
              </a:r>
            </a:p>
          </p:txBody>
        </p: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7E8FFE40-86A6-8F44-A420-7DF89723FB39}"/>
                </a:ext>
              </a:extLst>
            </p:cNvPr>
            <p:cNvSpPr txBox="1"/>
            <p:nvPr/>
          </p:nvSpPr>
          <p:spPr>
            <a:xfrm>
              <a:off x="28610323" y="12217990"/>
              <a:ext cx="754421" cy="4196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2.1 M</a:t>
              </a: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79F7F96C-AF2C-FF45-91B5-96E486B442FD}"/>
                </a:ext>
              </a:extLst>
            </p:cNvPr>
            <p:cNvSpPr txBox="1"/>
            <p:nvPr/>
          </p:nvSpPr>
          <p:spPr>
            <a:xfrm>
              <a:off x="29638513" y="12082048"/>
              <a:ext cx="754421" cy="4196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2.3 M</a:t>
              </a:r>
            </a:p>
          </p:txBody>
        </p:sp>
      </p:grpSp>
      <p:sp>
        <p:nvSpPr>
          <p:cNvPr id="151" name="Rectangle 150">
            <a:extLst>
              <a:ext uri="{FF2B5EF4-FFF2-40B4-BE49-F238E27FC236}">
                <a16:creationId xmlns:a16="http://schemas.microsoft.com/office/drawing/2014/main" id="{B579C644-0E14-2545-9CD8-43DC3D0F486F}"/>
              </a:ext>
            </a:extLst>
          </p:cNvPr>
          <p:cNvSpPr/>
          <p:nvPr/>
        </p:nvSpPr>
        <p:spPr>
          <a:xfrm>
            <a:off x="35749916" y="12000190"/>
            <a:ext cx="71393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Fig 5.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Total Net Savings ($) based on predicted OOS instances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F81C812E-88C8-974A-99A2-5DCC34E9FC88}"/>
              </a:ext>
            </a:extLst>
          </p:cNvPr>
          <p:cNvSpPr txBox="1"/>
          <p:nvPr/>
        </p:nvSpPr>
        <p:spPr>
          <a:xfrm>
            <a:off x="42262757" y="9385094"/>
            <a:ext cx="10179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50.6 M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04B4404B-B33B-034D-AEF1-CB67527468BD}"/>
              </a:ext>
            </a:extLst>
          </p:cNvPr>
          <p:cNvSpPr/>
          <p:nvPr/>
        </p:nvSpPr>
        <p:spPr>
          <a:xfrm>
            <a:off x="34604323" y="14400383"/>
            <a:ext cx="546760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S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55E67928-1CD5-5B46-A024-8DB7783D249E}"/>
              </a:ext>
            </a:extLst>
          </p:cNvPr>
          <p:cNvSpPr txBox="1"/>
          <p:nvPr/>
        </p:nvSpPr>
        <p:spPr>
          <a:xfrm>
            <a:off x="34802722" y="15421962"/>
            <a:ext cx="9062737" cy="32778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Reiterate why the problem is important in a sentence or two.</a:t>
            </a:r>
          </a:p>
          <a:p>
            <a:pPr algn="just"/>
            <a:endParaRPr lang="en-US" sz="2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Provide bulleted answers to your research question(s).</a:t>
            </a:r>
          </a:p>
          <a:p>
            <a:pPr marL="261244" indent="-261244" algn="just">
              <a:buFont typeface="Wingdings" panose="05000000000000000000" pitchFamily="2" charset="2"/>
              <a:buChar char="Ø"/>
            </a:pP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The Random Forest was able to predict intermittent demand with a 15% MAPE, which was 5% better than the currently used model.</a:t>
            </a:r>
          </a:p>
          <a:p>
            <a:pPr marL="261244" indent="-261244" algn="just">
              <a:buFont typeface="Wingdings" panose="05000000000000000000" pitchFamily="2" charset="2"/>
              <a:buChar char="Ø"/>
            </a:pP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All our ML models performed on average 4% better than </a:t>
            </a:r>
            <a:r>
              <a:rPr lang="en-US" sz="2300" dirty="0" err="1">
                <a:latin typeface="Arial" panose="020B0604020202020204" pitchFamily="34" charset="0"/>
                <a:cs typeface="Arial" panose="020B0604020202020204" pitchFamily="34" charset="0"/>
              </a:rPr>
              <a:t>Croston’s</a:t>
            </a: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 method.</a:t>
            </a:r>
          </a:p>
          <a:p>
            <a:pPr algn="just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Were there any limitations in your study or future analyses you think might improve your results?</a:t>
            </a:r>
          </a:p>
        </p:txBody>
      </p:sp>
      <p:pic>
        <p:nvPicPr>
          <p:cNvPr id="182" name="Picture 181">
            <a:extLst>
              <a:ext uri="{FF2B5EF4-FFF2-40B4-BE49-F238E27FC236}">
                <a16:creationId xmlns:a16="http://schemas.microsoft.com/office/drawing/2014/main" id="{2612C424-C34F-3444-99AC-8A71C7038F1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6996" y="3649"/>
            <a:ext cx="12458422" cy="4441371"/>
          </a:xfrm>
          <a:prstGeom prst="rect">
            <a:avLst/>
          </a:prstGeom>
        </p:spPr>
      </p:pic>
      <p:sp>
        <p:nvSpPr>
          <p:cNvPr id="188" name="Rectangle 187">
            <a:extLst>
              <a:ext uri="{FF2B5EF4-FFF2-40B4-BE49-F238E27FC236}">
                <a16:creationId xmlns:a16="http://schemas.microsoft.com/office/drawing/2014/main" id="{B94C18C3-6F3E-9943-AC69-A8E4CD9DF906}"/>
              </a:ext>
            </a:extLst>
          </p:cNvPr>
          <p:cNvSpPr/>
          <p:nvPr/>
        </p:nvSpPr>
        <p:spPr bwMode="auto">
          <a:xfrm>
            <a:off x="21535722" y="4481494"/>
            <a:ext cx="6893975" cy="556601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803F9F70-0ACA-9946-B4B7-3338CD523149}"/>
              </a:ext>
            </a:extLst>
          </p:cNvPr>
          <p:cNvSpPr/>
          <p:nvPr/>
        </p:nvSpPr>
        <p:spPr>
          <a:xfrm>
            <a:off x="21548350" y="4481495"/>
            <a:ext cx="68599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OLOGY</a:t>
            </a:r>
          </a:p>
        </p:txBody>
      </p: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A7DE79F1-1B07-EB40-8861-D3685ADE4DF5}"/>
              </a:ext>
            </a:extLst>
          </p:cNvPr>
          <p:cNvCxnSpPr/>
          <p:nvPr/>
        </p:nvCxnSpPr>
        <p:spPr bwMode="auto">
          <a:xfrm flipH="1">
            <a:off x="21479090" y="4951373"/>
            <a:ext cx="32657" cy="1640855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3" name="Rectangle 192">
            <a:extLst>
              <a:ext uri="{FF2B5EF4-FFF2-40B4-BE49-F238E27FC236}">
                <a16:creationId xmlns:a16="http://schemas.microsoft.com/office/drawing/2014/main" id="{76FEB872-372C-4148-AEFD-8FC60E42DEA4}"/>
              </a:ext>
            </a:extLst>
          </p:cNvPr>
          <p:cNvSpPr/>
          <p:nvPr/>
        </p:nvSpPr>
        <p:spPr bwMode="auto">
          <a:xfrm>
            <a:off x="21515693" y="15267908"/>
            <a:ext cx="12822510" cy="52322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E663D7BB-BDAB-8940-808A-7E7C8E4039DC}"/>
              </a:ext>
            </a:extLst>
          </p:cNvPr>
          <p:cNvSpPr/>
          <p:nvPr/>
        </p:nvSpPr>
        <p:spPr>
          <a:xfrm>
            <a:off x="21439855" y="15246421"/>
            <a:ext cx="1309979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 BUILDING AND EVALUATION – STATISTCIAL PERFORMAN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87E6A82-95D2-AF7B-B1AF-282D1EA4C32D}"/>
              </a:ext>
            </a:extLst>
          </p:cNvPr>
          <p:cNvSpPr txBox="1"/>
          <p:nvPr/>
        </p:nvSpPr>
        <p:spPr>
          <a:xfrm>
            <a:off x="-103154" y="5000603"/>
            <a:ext cx="8742970" cy="18620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ct val="50000"/>
              </a:spcBef>
            </a:pP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What did you do? Why did you do this project (who cares?)? What did you find you find out? No more than 200 words here.</a:t>
            </a:r>
          </a:p>
          <a:p>
            <a:pPr algn="just">
              <a:spcBef>
                <a:spcPct val="50000"/>
              </a:spcBef>
            </a:pPr>
            <a:endParaRPr lang="en-US" sz="2300" dirty="0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  <a:p>
            <a:pPr algn="just">
              <a:spcBef>
                <a:spcPct val="50000"/>
              </a:spcBef>
            </a:pPr>
            <a:r>
              <a:rPr lang="en-US" sz="23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This paragraph is just a short summary of your project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7D7D29-C5E8-F426-BD13-D8CD71782749}"/>
              </a:ext>
            </a:extLst>
          </p:cNvPr>
          <p:cNvSpPr txBox="1"/>
          <p:nvPr/>
        </p:nvSpPr>
        <p:spPr>
          <a:xfrm>
            <a:off x="9340906" y="5682332"/>
            <a:ext cx="8584208" cy="1508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Problem framed into an analytics problem </a:t>
            </a:r>
          </a:p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Assumptions are clear </a:t>
            </a:r>
          </a:p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Appropriate success metrics defined </a:t>
            </a:r>
          </a:p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Clear justification or approval of approach </a:t>
            </a:r>
            <a:endParaRPr lang="en-US" sz="2300" spc="1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B17D3D3-06A4-BD02-458C-4D1B2906312A}"/>
              </a:ext>
            </a:extLst>
          </p:cNvPr>
          <p:cNvSpPr/>
          <p:nvPr/>
        </p:nvSpPr>
        <p:spPr bwMode="auto">
          <a:xfrm>
            <a:off x="9017061" y="4743105"/>
            <a:ext cx="7120791" cy="52322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757EBE7-E601-3417-E140-0A27007093A2}"/>
              </a:ext>
            </a:extLst>
          </p:cNvPr>
          <p:cNvSpPr/>
          <p:nvPr/>
        </p:nvSpPr>
        <p:spPr>
          <a:xfrm>
            <a:off x="9041977" y="4743105"/>
            <a:ext cx="706555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TICS PROBLEM FRAMING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DD4F683-C885-8126-A79D-4880889E29B7}"/>
              </a:ext>
            </a:extLst>
          </p:cNvPr>
          <p:cNvSpPr/>
          <p:nvPr/>
        </p:nvSpPr>
        <p:spPr bwMode="auto">
          <a:xfrm>
            <a:off x="9020475" y="9773722"/>
            <a:ext cx="5862704" cy="556601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0F4F224-1A14-6FD1-7CB8-CD29DE5333E9}"/>
              </a:ext>
            </a:extLst>
          </p:cNvPr>
          <p:cNvSpPr/>
          <p:nvPr/>
        </p:nvSpPr>
        <p:spPr>
          <a:xfrm>
            <a:off x="9416230" y="9790412"/>
            <a:ext cx="479379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 QUEST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AD3F3FF-2EA0-4371-1362-765D6099B898}"/>
              </a:ext>
            </a:extLst>
          </p:cNvPr>
          <p:cNvSpPr txBox="1"/>
          <p:nvPr/>
        </p:nvSpPr>
        <p:spPr>
          <a:xfrm>
            <a:off x="21768829" y="5374222"/>
            <a:ext cx="11813917" cy="1154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Methods used are appropriate and clear </a:t>
            </a:r>
          </a:p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Software and technologies used are clear </a:t>
            </a:r>
          </a:p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Experiments performed support problem and answer question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100C5FC-6F8C-3177-D632-36246E40991D}"/>
              </a:ext>
            </a:extLst>
          </p:cNvPr>
          <p:cNvSpPr txBox="1"/>
          <p:nvPr/>
        </p:nvSpPr>
        <p:spPr>
          <a:xfrm>
            <a:off x="9292317" y="12683498"/>
            <a:ext cx="11748632" cy="1508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Data sources identified and prioritized </a:t>
            </a:r>
          </a:p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Data preprocessing clear </a:t>
            </a:r>
          </a:p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Important or notable data relationships clear </a:t>
            </a:r>
          </a:p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Reflection of business &amp; analytics problem fram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52AABF9-523B-CE6A-2BCA-241F48220148}"/>
              </a:ext>
            </a:extLst>
          </p:cNvPr>
          <p:cNvSpPr txBox="1"/>
          <p:nvPr/>
        </p:nvSpPr>
        <p:spPr>
          <a:xfrm>
            <a:off x="34779083" y="5807671"/>
            <a:ext cx="9158916" cy="1508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Business validation of model/solution demonstrated </a:t>
            </a:r>
          </a:p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Impact (actual or estimated) of using model/solution </a:t>
            </a:r>
          </a:p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Audience/stakeholder feedback or testimony of business impact </a:t>
            </a:r>
          </a:p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Future scope aligns with conclusion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C52D862-6064-8029-326E-F2B1A7409140}"/>
              </a:ext>
            </a:extLst>
          </p:cNvPr>
          <p:cNvSpPr txBox="1"/>
          <p:nvPr/>
        </p:nvSpPr>
        <p:spPr>
          <a:xfrm>
            <a:off x="21870691" y="15990683"/>
            <a:ext cx="12403644" cy="1508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Model results clear and appropriately evaluated </a:t>
            </a:r>
          </a:p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Demonstrated how models will/are to be used </a:t>
            </a:r>
          </a:p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Final model/solution structures or interpretations discussed as necessary </a:t>
            </a:r>
          </a:p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Areas for improvement identified</a:t>
            </a:r>
          </a:p>
        </p:txBody>
      </p:sp>
      <p:pic>
        <p:nvPicPr>
          <p:cNvPr id="26637" name="Picture 13">
            <a:extLst>
              <a:ext uri="{FF2B5EF4-FFF2-40B4-BE49-F238E27FC236}">
                <a16:creationId xmlns:a16="http://schemas.microsoft.com/office/drawing/2014/main" id="{F7D79848-9D69-46B2-6B4B-AF7B5AED5A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212" y="1964300"/>
            <a:ext cx="1720005" cy="1713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86D3795F-2870-B776-F414-C185477725C2}"/>
              </a:ext>
            </a:extLst>
          </p:cNvPr>
          <p:cNvSpPr txBox="1"/>
          <p:nvPr/>
        </p:nvSpPr>
        <p:spPr>
          <a:xfrm>
            <a:off x="367116" y="19799254"/>
            <a:ext cx="82727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887413"/>
            <a:r>
              <a:rPr lang="en-US" sz="2000" b="1" spc="10" dirty="0">
                <a:latin typeface="Arial"/>
                <a:cs typeface="Arial"/>
              </a:rPr>
              <a:t>USE FIGURES / PICTURES / DIAGRAMS TO TELL THE STORY</a:t>
            </a:r>
            <a:endParaRPr lang="en-US" sz="2000" spc="10" dirty="0">
              <a:latin typeface="Arial"/>
              <a:cs typeface="Arial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79188C9-3347-26EE-8837-9602423F4F5D}"/>
              </a:ext>
            </a:extLst>
          </p:cNvPr>
          <p:cNvSpPr txBox="1"/>
          <p:nvPr/>
        </p:nvSpPr>
        <p:spPr>
          <a:xfrm>
            <a:off x="10984073" y="8865431"/>
            <a:ext cx="82727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887413"/>
            <a:r>
              <a:rPr lang="en-US" sz="2000" b="1" spc="10" dirty="0">
                <a:latin typeface="Arial"/>
                <a:cs typeface="Arial"/>
              </a:rPr>
              <a:t>USE FIGURES / PICTURES / DIAGRAMS TO TELL THE STORY</a:t>
            </a:r>
            <a:endParaRPr lang="en-US" sz="2000" spc="10" dirty="0">
              <a:latin typeface="Arial"/>
              <a:cs typeface="Arial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0438034-D27C-6B7C-98EA-F19B5A20ABA4}"/>
              </a:ext>
            </a:extLst>
          </p:cNvPr>
          <p:cNvSpPr txBox="1"/>
          <p:nvPr/>
        </p:nvSpPr>
        <p:spPr>
          <a:xfrm>
            <a:off x="10972653" y="17287860"/>
            <a:ext cx="82727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887413"/>
            <a:r>
              <a:rPr lang="en-US" sz="2000" b="1" spc="10" dirty="0">
                <a:latin typeface="Arial"/>
                <a:cs typeface="Arial"/>
              </a:rPr>
              <a:t>USE FIGURES / PICTURES / DIAGRAMS TO TELL THE STORY</a:t>
            </a:r>
            <a:endParaRPr lang="en-US" sz="2000" spc="10" dirty="0">
              <a:latin typeface="Arial"/>
              <a:cs typeface="Arial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41B51C3-3B2A-E966-15E6-E2C84B049696}"/>
              </a:ext>
            </a:extLst>
          </p:cNvPr>
          <p:cNvSpPr txBox="1"/>
          <p:nvPr/>
        </p:nvSpPr>
        <p:spPr>
          <a:xfrm>
            <a:off x="24038208" y="19796130"/>
            <a:ext cx="82727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887413"/>
            <a:r>
              <a:rPr lang="en-US" sz="2000" b="1" spc="10" dirty="0">
                <a:latin typeface="Arial"/>
                <a:cs typeface="Arial"/>
              </a:rPr>
              <a:t>USE FIGURES / PICTURES / DIAGRAMS TO TELL THE STORY</a:t>
            </a:r>
            <a:endParaRPr lang="en-US" sz="2000" spc="10" dirty="0">
              <a:latin typeface="Arial"/>
              <a:cs typeface="Arial"/>
            </a:endParaRPr>
          </a:p>
        </p:txBody>
      </p:sp>
      <p:pic>
        <p:nvPicPr>
          <p:cNvPr id="26647" name="Picture 23" descr="Linkedin - Free social media icons">
            <a:hlinkClick r:id="rId6"/>
            <a:extLst>
              <a:ext uri="{FF2B5EF4-FFF2-40B4-BE49-F238E27FC236}">
                <a16:creationId xmlns:a16="http://schemas.microsoft.com/office/drawing/2014/main" id="{72C521B9-7D3F-3B7D-C36A-25BB2E1B9D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6052" y="3062801"/>
            <a:ext cx="636492" cy="63649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2D62071-3D08-7FE6-979F-168B56056531}"/>
              </a:ext>
            </a:extLst>
          </p:cNvPr>
          <p:cNvSpPr/>
          <p:nvPr/>
        </p:nvSpPr>
        <p:spPr bwMode="auto">
          <a:xfrm>
            <a:off x="-253142" y="9145394"/>
            <a:ext cx="7167979" cy="52322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27E0BE-231C-73D6-8F41-BF1D590E48A8}"/>
              </a:ext>
            </a:extLst>
          </p:cNvPr>
          <p:cNvSpPr/>
          <p:nvPr/>
        </p:nvSpPr>
        <p:spPr>
          <a:xfrm>
            <a:off x="-185129" y="9166659"/>
            <a:ext cx="709996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PROBLE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EBF370E-53E6-ED83-CC67-B258FA0A870C}"/>
              </a:ext>
            </a:extLst>
          </p:cNvPr>
          <p:cNvSpPr txBox="1"/>
          <p:nvPr/>
        </p:nvSpPr>
        <p:spPr>
          <a:xfrm>
            <a:off x="1770" y="9887442"/>
            <a:ext cx="8685367" cy="46935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Discuss the </a:t>
            </a:r>
            <a:r>
              <a:rPr lang="en-US" sz="2300" b="1" dirty="0">
                <a:latin typeface="Arial" panose="020B0604020202020204" pitchFamily="34" charset="0"/>
                <a:cs typeface="Arial" panose="020B0604020202020204" pitchFamily="34" charset="0"/>
              </a:rPr>
              <a:t>business problem </a:t>
            </a: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as you would in the business understanding phase of CRIPS-DM.</a:t>
            </a:r>
          </a:p>
          <a:p>
            <a:pPr algn="just"/>
            <a:endParaRPr lang="en-US" sz="2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Motivate why is the problem is important …Cite at least two sources from mainstream media, white papers, or blogs that are no older than 2 years old that provide stats that help you motivate your problem.</a:t>
            </a:r>
          </a:p>
          <a:p>
            <a:pPr algn="just"/>
            <a:endParaRPr lang="en-US" sz="2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Maybe add in a pretty illustration of what you’re talk about…Remember a poster is NOT a paper, but a high-level overview of you what you investigated. You are sort of using your poster like a PowerPoint deck and thus will want more</a:t>
            </a:r>
            <a:r>
              <a:rPr lang="en-US" sz="23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EAUTIFUL </a:t>
            </a: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 figures and </a:t>
            </a:r>
            <a:r>
              <a:rPr lang="en-US" sz="23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ISE</a:t>
            </a: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 language. 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03D6E46F-0D2B-0006-8F7C-EB56509BA53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45600" y="1711072"/>
            <a:ext cx="12457917" cy="130992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73C7AE38-3393-550A-CBD7-2C3F34DAA3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540945" y="6773756"/>
            <a:ext cx="7877794" cy="804507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FAAEADF-93BC-3605-C740-C8EDED25778A}"/>
              </a:ext>
            </a:extLst>
          </p:cNvPr>
          <p:cNvSpPr/>
          <p:nvPr/>
        </p:nvSpPr>
        <p:spPr bwMode="auto">
          <a:xfrm>
            <a:off x="9041977" y="11985681"/>
            <a:ext cx="3704704" cy="556601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A86DAAD-6AD5-7275-9BB2-A6FA0C1A0D0B}"/>
              </a:ext>
            </a:extLst>
          </p:cNvPr>
          <p:cNvSpPr/>
          <p:nvPr/>
        </p:nvSpPr>
        <p:spPr>
          <a:xfrm>
            <a:off x="9095264" y="12028231"/>
            <a:ext cx="36920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273BCE6-B82C-45EF-7F61-B07BD741A0A6}"/>
              </a:ext>
            </a:extLst>
          </p:cNvPr>
          <p:cNvSpPr txBox="1"/>
          <p:nvPr/>
        </p:nvSpPr>
        <p:spPr>
          <a:xfrm>
            <a:off x="9340906" y="10411352"/>
            <a:ext cx="11748632" cy="446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887413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• One to two clearly defined research questio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B3280C-53E5-5E70-8318-FDBED43F37F7}"/>
              </a:ext>
            </a:extLst>
          </p:cNvPr>
          <p:cNvSpPr txBox="1"/>
          <p:nvPr/>
        </p:nvSpPr>
        <p:spPr>
          <a:xfrm rot="19829238">
            <a:off x="3127658" y="15924073"/>
            <a:ext cx="228712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dirty="0">
                <a:solidFill>
                  <a:srgbClr val="FF0000"/>
                </a:solidFill>
              </a:rPr>
              <a:t>EXAMP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94A4221-F631-3174-A6FA-42B3EF87625A}"/>
              </a:ext>
            </a:extLst>
          </p:cNvPr>
          <p:cNvSpPr txBox="1"/>
          <p:nvPr/>
        </p:nvSpPr>
        <p:spPr>
          <a:xfrm rot="19829238">
            <a:off x="26964098" y="10904288"/>
            <a:ext cx="228712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dirty="0">
                <a:solidFill>
                  <a:srgbClr val="FF0000"/>
                </a:solidFill>
              </a:rPr>
              <a:t>EXAMP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FC23020-7CB4-8041-6556-80F2B35DC794}"/>
              </a:ext>
            </a:extLst>
          </p:cNvPr>
          <p:cNvSpPr txBox="1"/>
          <p:nvPr/>
        </p:nvSpPr>
        <p:spPr>
          <a:xfrm rot="19829238">
            <a:off x="38567106" y="9567317"/>
            <a:ext cx="228712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dirty="0">
                <a:solidFill>
                  <a:srgbClr val="FF0000"/>
                </a:solidFill>
              </a:rPr>
              <a:t>EXAMPLE</a:t>
            </a:r>
          </a:p>
        </p:txBody>
      </p:sp>
      <p:pic>
        <p:nvPicPr>
          <p:cNvPr id="28" name="Picture 27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3792A2EE-6A33-F047-1AF7-B549DABA114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65479" y="1201857"/>
            <a:ext cx="8972520" cy="3763879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CC562591-CF01-E9B3-974E-8AFF856BCA8E}"/>
              </a:ext>
            </a:extLst>
          </p:cNvPr>
          <p:cNvSpPr txBox="1"/>
          <p:nvPr/>
        </p:nvSpPr>
        <p:spPr>
          <a:xfrm rot="19829238">
            <a:off x="38567104" y="2728264"/>
            <a:ext cx="228712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dirty="0">
                <a:solidFill>
                  <a:srgbClr val="FF0000"/>
                </a:solidFill>
              </a:rPr>
              <a:t>EXAMP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7B2010-A2EE-DE72-75DF-3624655D60CD}"/>
              </a:ext>
            </a:extLst>
          </p:cNvPr>
          <p:cNvSpPr/>
          <p:nvPr/>
        </p:nvSpPr>
        <p:spPr bwMode="auto">
          <a:xfrm>
            <a:off x="34730982" y="19469278"/>
            <a:ext cx="5493344" cy="52322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AD63148-F49A-769C-69FF-816F50818A80}"/>
              </a:ext>
            </a:extLst>
          </p:cNvPr>
          <p:cNvSpPr txBox="1"/>
          <p:nvPr/>
        </p:nvSpPr>
        <p:spPr>
          <a:xfrm>
            <a:off x="35068570" y="19504461"/>
            <a:ext cx="468981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KNOWLEDGEMENT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A8FC21E-86F0-7A68-9585-094556DBD852}"/>
              </a:ext>
            </a:extLst>
          </p:cNvPr>
          <p:cNvSpPr txBox="1"/>
          <p:nvPr/>
        </p:nvSpPr>
        <p:spPr>
          <a:xfrm>
            <a:off x="34846503" y="20354396"/>
            <a:ext cx="9062737" cy="1154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Provide bulleted list.</a:t>
            </a:r>
          </a:p>
          <a:p>
            <a:pPr marL="261244" indent="-261244" algn="just">
              <a:buFont typeface="Wingdings" panose="05000000000000000000" pitchFamily="2" charset="2"/>
              <a:buChar char="Ø"/>
            </a:pP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</a:p>
          <a:p>
            <a:pPr marL="261244" indent="-261244" algn="just">
              <a:buFont typeface="Wingdings" panose="05000000000000000000" pitchFamily="2" charset="2"/>
              <a:buChar char="Ø"/>
            </a:pP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C34C11D2-7C01-DC82-67EE-3A3B422C703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2051796" y="19981309"/>
            <a:ext cx="1990401" cy="1997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724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Y9ZxFT7OPePSRnv9apmg"/>
</p:tagLst>
</file>

<file path=ppt/theme/theme1.xml><?xml version="1.0" encoding="utf-8"?>
<a:theme xmlns:a="http://schemas.openxmlformats.org/drawingml/2006/main" name="INFORMS2015_Comp_Conf">
  <a:themeElements>
    <a:clrScheme name="test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E36C09"/>
      </a:hlink>
      <a:folHlink>
        <a:srgbClr val="E36C09"/>
      </a:folHlink>
    </a:clrScheme>
    <a:fontScheme name="Blank">
      <a:majorFont>
        <a:latin typeface="Times"/>
        <a:ea typeface=""/>
        <a:cs typeface=""/>
      </a:majorFont>
      <a:minorFont>
        <a:latin typeface="Time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275B0F64C39D45B48ED87B7D5A772E" ma:contentTypeVersion="13" ma:contentTypeDescription="Create a new document." ma:contentTypeScope="" ma:versionID="a62b194ba624c8cf62b60144cd5b8a77">
  <xsd:schema xmlns:xsd="http://www.w3.org/2001/XMLSchema" xmlns:xs="http://www.w3.org/2001/XMLSchema" xmlns:p="http://schemas.microsoft.com/office/2006/metadata/properties" xmlns:ns3="b1755f8e-5024-43d4-9f4e-f0720ef5cbea" xmlns:ns4="b60307e8-227d-4226-bf3f-3f3e3f614599" targetNamespace="http://schemas.microsoft.com/office/2006/metadata/properties" ma:root="true" ma:fieldsID="f7af95be82f763595ac7849bdb709092" ns3:_="" ns4:_="">
    <xsd:import namespace="b1755f8e-5024-43d4-9f4e-f0720ef5cbea"/>
    <xsd:import namespace="b60307e8-227d-4226-bf3f-3f3e3f61459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755f8e-5024-43d4-9f4e-f0720ef5cb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0307e8-227d-4226-bf3f-3f3e3f61459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BE5E52D-EB9D-4B72-A928-24760AE9C86A}">
  <ds:schemaRefs>
    <ds:schemaRef ds:uri="http://purl.org/dc/dcmitype/"/>
    <ds:schemaRef ds:uri="http://purl.org/dc/elements/1.1/"/>
    <ds:schemaRef ds:uri="http://www.w3.org/XML/1998/namespace"/>
    <ds:schemaRef ds:uri="http://purl.org/dc/terms/"/>
    <ds:schemaRef ds:uri="http://schemas.microsoft.com/office/2006/metadata/properties"/>
    <ds:schemaRef ds:uri="b60307e8-227d-4226-bf3f-3f3e3f61459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b1755f8e-5024-43d4-9f4e-f0720ef5cbea"/>
  </ds:schemaRefs>
</ds:datastoreItem>
</file>

<file path=customXml/itemProps2.xml><?xml version="1.0" encoding="utf-8"?>
<ds:datastoreItem xmlns:ds="http://schemas.openxmlformats.org/officeDocument/2006/customXml" ds:itemID="{8BA11E28-B7DB-49AA-A1E7-5E933385601E}">
  <ds:schemaRefs>
    <ds:schemaRef ds:uri="b1755f8e-5024-43d4-9f4e-f0720ef5cbea"/>
    <ds:schemaRef ds:uri="b60307e8-227d-4226-bf3f-3f3e3f61459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99380DB-4B35-4657-950C-6BBA781E421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FORMS2015_Comp_Conf</Template>
  <TotalTime>3265</TotalTime>
  <Words>552</Words>
  <Application>Microsoft Macintosh PowerPoint</Application>
  <PresentationFormat>Custom</PresentationFormat>
  <Paragraphs>9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Times</vt:lpstr>
      <vt:lpstr>Wingdings</vt:lpstr>
      <vt:lpstr>INFORMS2015_Comp_Conf</vt:lpstr>
      <vt:lpstr>think-cell Slide</vt:lpstr>
      <vt:lpstr>PowerPoint Presentation</vt:lpstr>
    </vt:vector>
  </TitlesOfParts>
  <Company>Advance Auto Par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ew Lanham</dc:creator>
  <cp:lastModifiedBy>Davi Cordeiro Moreira</cp:lastModifiedBy>
  <cp:revision>61</cp:revision>
  <cp:lastPrinted>2001-08-01T02:48:55Z</cp:lastPrinted>
  <dcterms:created xsi:type="dcterms:W3CDTF">2014-12-02T19:25:45Z</dcterms:created>
  <dcterms:modified xsi:type="dcterms:W3CDTF">2025-03-18T19:43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275B0F64C39D45B48ED87B7D5A772E</vt:lpwstr>
  </property>
  <property fmtid="{D5CDD505-2E9C-101B-9397-08002B2CF9AE}" pid="3" name="MSIP_Label_4044bd30-2ed7-4c9d-9d12-46200872a97b_Enabled">
    <vt:lpwstr>true</vt:lpwstr>
  </property>
  <property fmtid="{D5CDD505-2E9C-101B-9397-08002B2CF9AE}" pid="4" name="MSIP_Label_4044bd30-2ed7-4c9d-9d12-46200872a97b_SetDate">
    <vt:lpwstr>2025-03-05T03:52:08Z</vt:lpwstr>
  </property>
  <property fmtid="{D5CDD505-2E9C-101B-9397-08002B2CF9AE}" pid="5" name="MSIP_Label_4044bd30-2ed7-4c9d-9d12-46200872a97b_Method">
    <vt:lpwstr>Standard</vt:lpwstr>
  </property>
  <property fmtid="{D5CDD505-2E9C-101B-9397-08002B2CF9AE}" pid="6" name="MSIP_Label_4044bd30-2ed7-4c9d-9d12-46200872a97b_Name">
    <vt:lpwstr>defa4170-0d19-0005-0004-bc88714345d2</vt:lpwstr>
  </property>
  <property fmtid="{D5CDD505-2E9C-101B-9397-08002B2CF9AE}" pid="7" name="MSIP_Label_4044bd30-2ed7-4c9d-9d12-46200872a97b_SiteId">
    <vt:lpwstr>4130bd39-7c53-419c-b1e5-8758d6d63f21</vt:lpwstr>
  </property>
  <property fmtid="{D5CDD505-2E9C-101B-9397-08002B2CF9AE}" pid="8" name="MSIP_Label_4044bd30-2ed7-4c9d-9d12-46200872a97b_ActionId">
    <vt:lpwstr>5b37bd32-8766-40fe-8a24-ff0667b49a9e</vt:lpwstr>
  </property>
  <property fmtid="{D5CDD505-2E9C-101B-9397-08002B2CF9AE}" pid="9" name="MSIP_Label_4044bd30-2ed7-4c9d-9d12-46200872a97b_ContentBits">
    <vt:lpwstr>0</vt:lpwstr>
  </property>
  <property fmtid="{D5CDD505-2E9C-101B-9397-08002B2CF9AE}" pid="10" name="MSIP_Label_4044bd30-2ed7-4c9d-9d12-46200872a97b_Tag">
    <vt:lpwstr>50, 3, 0, 1</vt:lpwstr>
  </property>
</Properties>
</file>